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32.jpg" ContentType="image/jpg"/>
  <Override PartName="/ppt/media/image33.jpg" ContentType="image/jpg"/>
  <Override PartName="/ppt/media/image34.jpg" ContentType="image/jpg"/>
  <Override PartName="/ppt/media/image35.jpg" ContentType="image/jpg"/>
  <Override PartName="/ppt/notesSlides/notesSlide15.xml" ContentType="application/vnd.openxmlformats-officedocument.presentationml.notesSlide+xml"/>
  <Override PartName="/ppt/media/image37.jpg" ContentType="image/jpg"/>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52" r:id="rId2"/>
    <p:sldMasterId id="2147483684" r:id="rId3"/>
    <p:sldMasterId id="2147483709" r:id="rId4"/>
    <p:sldMasterId id="2147483721" r:id="rId5"/>
  </p:sldMasterIdLst>
  <p:notesMasterIdLst>
    <p:notesMasterId r:id="rId34"/>
  </p:notesMasterIdLst>
  <p:sldIdLst>
    <p:sldId id="2147197055" r:id="rId6"/>
    <p:sldId id="3476" r:id="rId7"/>
    <p:sldId id="2147197056" r:id="rId8"/>
    <p:sldId id="3474" r:id="rId9"/>
    <p:sldId id="3472" r:id="rId10"/>
    <p:sldId id="3477" r:id="rId11"/>
    <p:sldId id="2147197053" r:id="rId12"/>
    <p:sldId id="2147197065" r:id="rId13"/>
    <p:sldId id="257" r:id="rId14"/>
    <p:sldId id="259" r:id="rId15"/>
    <p:sldId id="262" r:id="rId16"/>
    <p:sldId id="2147197057" r:id="rId17"/>
    <p:sldId id="2147197066" r:id="rId18"/>
    <p:sldId id="2147197064" r:id="rId19"/>
    <p:sldId id="2147197061" r:id="rId20"/>
    <p:sldId id="2147197062" r:id="rId21"/>
    <p:sldId id="3473" r:id="rId22"/>
    <p:sldId id="2147197067" r:id="rId23"/>
    <p:sldId id="2147197068" r:id="rId24"/>
    <p:sldId id="2147197071" r:id="rId25"/>
    <p:sldId id="2147197080" r:id="rId26"/>
    <p:sldId id="2147197069" r:id="rId27"/>
    <p:sldId id="2147197072" r:id="rId28"/>
    <p:sldId id="2147197077" r:id="rId29"/>
    <p:sldId id="2147197078" r:id="rId30"/>
    <p:sldId id="2147197060" r:id="rId31"/>
    <p:sldId id="2147197074" r:id="rId32"/>
    <p:sldId id="2147197075" r:id="rId33"/>
  </p:sldIdLst>
  <p:sldSz cx="12192000" cy="6858000"/>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7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rp, Désirée van" initials="GDv" lastIdx="0" clrIdx="0">
    <p:extLst>
      <p:ext uri="{19B8F6BF-5375-455C-9EA6-DF929625EA0E}">
        <p15:presenceInfo xmlns:p15="http://schemas.microsoft.com/office/powerpoint/2012/main" userId="S-1-5-21-1229272821-920026266-1801674531-27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ADDB"/>
    <a:srgbClr val="F7765F"/>
    <a:srgbClr val="AFABA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84171" autoAdjust="0"/>
  </p:normalViewPr>
  <p:slideViewPr>
    <p:cSldViewPr snapToGrid="0">
      <p:cViewPr varScale="1">
        <p:scale>
          <a:sx n="72" d="100"/>
          <a:sy n="72" d="100"/>
        </p:scale>
        <p:origin x="941" y="62"/>
      </p:cViewPr>
      <p:guideLst>
        <p:guide orient="horz" pos="237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634F0C-CC75-400B-9462-130424CA571D}" type="datetimeFigureOut">
              <a:rPr lang="nl-NL" smtClean="0"/>
              <a:t>15-3-2022</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B7C366-DCCA-444E-9C5E-506856BDB07F}" type="slidenum">
              <a:rPr lang="nl-NL" smtClean="0"/>
              <a:t>‹nr.›</a:t>
            </a:fld>
            <a:endParaRPr lang="nl-NL"/>
          </a:p>
        </p:txBody>
      </p:sp>
    </p:spTree>
    <p:extLst>
      <p:ext uri="{BB962C8B-B14F-4D97-AF65-F5344CB8AC3E}">
        <p14:creationId xmlns:p14="http://schemas.microsoft.com/office/powerpoint/2010/main" val="3887626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0" name="Google Shape;23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5520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anneer het gaat over de maatschappelijke opdrachten waar wij voorstaan, van klimaatverandering tot de woningcrisis, van corona tot een oorlog in </a:t>
            </a:r>
            <a:r>
              <a:rPr lang="nl-NL" dirty="0" err="1"/>
              <a:t>europa</a:t>
            </a:r>
            <a:r>
              <a:rPr lang="nl-NL" dirty="0"/>
              <a:t>, als we alleen denken aan onszelf en aan onze plek in de keten komen we niet verder. We moeten een stap durven zetten naar het systeem, waar we onderdeel voor zijn. Samen werken, samen oefenen, samen durven, samen fouten maken. </a:t>
            </a:r>
          </a:p>
          <a:p>
            <a:r>
              <a:rPr lang="nl-NL" dirty="0"/>
              <a:t>In een </a:t>
            </a:r>
            <a:r>
              <a:rPr lang="nl-NL" dirty="0" err="1"/>
              <a:t>eco-systeem</a:t>
            </a:r>
            <a:r>
              <a:rPr lang="nl-NL" dirty="0"/>
              <a:t> denken we niet meer aan klanten en toeleveranciers, maar zijn we partners. </a:t>
            </a:r>
          </a:p>
          <a:p>
            <a:r>
              <a:rPr lang="nl-NL" dirty="0"/>
              <a:t>Dit betekent ook dat we met andere mensen en partijen samen gaan werken. </a:t>
            </a:r>
          </a:p>
          <a:p>
            <a:r>
              <a:rPr lang="nl-NL" dirty="0"/>
              <a:t>Als samen centraal staat, en het oplossen van maatschappelijke </a:t>
            </a:r>
            <a:r>
              <a:rPr lang="nl-NL" dirty="0" err="1"/>
              <a:t>themas</a:t>
            </a:r>
            <a:r>
              <a:rPr lang="nl-NL" dirty="0"/>
              <a:t> ons doel is </a:t>
            </a:r>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16</a:t>
            </a:fld>
            <a:endParaRPr lang="nl-NL"/>
          </a:p>
        </p:txBody>
      </p:sp>
    </p:spTree>
    <p:extLst>
      <p:ext uri="{BB962C8B-B14F-4D97-AF65-F5344CB8AC3E}">
        <p14:creationId xmlns:p14="http://schemas.microsoft.com/office/powerpoint/2010/main" val="2542569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nl-NL" sz="1800" b="1" dirty="0">
                <a:solidFill>
                  <a:srgbClr val="444444"/>
                </a:solidFill>
                <a:latin typeface="Poppins"/>
                <a:ea typeface="Poppins"/>
                <a:cs typeface="Poppins"/>
                <a:sym typeface="Poppins"/>
              </a:rPr>
              <a:t>Met deze gedachten hebben zijn wij opnieuw gaan kijken naar productontwikkeling, onze innovaties en onze eigen relevatie voor de toekomst. Wij willen namelijk graag blijven bestaan, en met alleen kilo’s PVC kopen komen we er niet. </a:t>
            </a:r>
          </a:p>
          <a:p>
            <a:r>
              <a:rPr lang="nl-NL" sz="1800" b="1" dirty="0">
                <a:solidFill>
                  <a:srgbClr val="444444"/>
                </a:solidFill>
                <a:latin typeface="Poppins"/>
                <a:ea typeface="Poppins"/>
                <a:cs typeface="Poppins"/>
                <a:sym typeface="Poppins"/>
              </a:rPr>
              <a:t>Wij werken met partners in ons systeem. Dit betekent soms ook samenwerken met concurrenten, met onze eigen leveranciers, eindgebruikers etc. Maar dat betekent ook een ander soort bedrijf zoals </a:t>
            </a:r>
            <a:r>
              <a:rPr lang="nl-NL" sz="1800" b="1" dirty="0" err="1">
                <a:solidFill>
                  <a:srgbClr val="444444"/>
                </a:solidFill>
                <a:latin typeface="Poppins"/>
                <a:ea typeface="Poppins"/>
                <a:cs typeface="Poppins"/>
                <a:sym typeface="Poppins"/>
              </a:rPr>
              <a:t>start-ups</a:t>
            </a:r>
            <a:r>
              <a:rPr lang="nl-NL" sz="1800" b="1" dirty="0">
                <a:solidFill>
                  <a:srgbClr val="444444"/>
                </a:solidFill>
                <a:latin typeface="Poppins"/>
                <a:ea typeface="Poppins"/>
                <a:cs typeface="Poppins"/>
                <a:sym typeface="Poppins"/>
              </a:rPr>
              <a:t>, data bedrijven. </a:t>
            </a:r>
          </a:p>
          <a:p>
            <a:endParaRPr lang="nl-NL" sz="1800" b="1" dirty="0">
              <a:solidFill>
                <a:srgbClr val="444444"/>
              </a:solidFill>
              <a:latin typeface="Poppins"/>
              <a:ea typeface="Poppins"/>
              <a:cs typeface="Poppins"/>
              <a:sym typeface="Poppins"/>
            </a:endParaRPr>
          </a:p>
        </p:txBody>
      </p:sp>
      <p:sp>
        <p:nvSpPr>
          <p:cNvPr id="230" name="Google Shape;23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ij kunnen dit niet zelf oplossen, maar wat kunnen wij als toeleverancier doen? Wat is onze rol als we daadwerkelijk denken in het </a:t>
            </a:r>
            <a:r>
              <a:rPr lang="nl-NL" dirty="0" err="1"/>
              <a:t>eco</a:t>
            </a:r>
            <a:r>
              <a:rPr lang="nl-NL" dirty="0"/>
              <a:t> </a:t>
            </a:r>
            <a:r>
              <a:rPr lang="nl-NL" dirty="0" err="1"/>
              <a:t>susteem</a:t>
            </a:r>
            <a:r>
              <a:rPr lang="nl-NL" dirty="0"/>
              <a:t>? </a:t>
            </a:r>
          </a:p>
          <a:p>
            <a:endParaRPr lang="nl-NL" dirty="0"/>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19</a:t>
            </a:fld>
            <a:endParaRPr lang="nl-NL"/>
          </a:p>
        </p:txBody>
      </p:sp>
    </p:spTree>
    <p:extLst>
      <p:ext uri="{BB962C8B-B14F-4D97-AF65-F5344CB8AC3E}">
        <p14:creationId xmlns:p14="http://schemas.microsoft.com/office/powerpoint/2010/main" val="14052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erantwoordelijkheid nemen voor prijs, het is nu vaak 2x zo duur</a:t>
            </a:r>
          </a:p>
          <a:p>
            <a:r>
              <a:rPr lang="nl-NL" dirty="0"/>
              <a:t>Het moet praktisch zijn, en werken in de praktijk, met energie, op basis van de grondwater stand, dan kunnen wij werken met sensoren. </a:t>
            </a:r>
          </a:p>
          <a:p>
            <a:r>
              <a:rPr lang="nl-NL" dirty="0"/>
              <a:t>Boeren moeten heel veel kennis hebben om te schakelen bij weersextremen, kunnen we hierbij helpen door het systeem zelf te laten werken met </a:t>
            </a:r>
            <a:r>
              <a:rPr lang="nl-NL" dirty="0" err="1"/>
              <a:t>weersinvloedne</a:t>
            </a:r>
            <a:r>
              <a:rPr lang="nl-NL" dirty="0"/>
              <a:t>?</a:t>
            </a:r>
          </a:p>
          <a:p>
            <a:endParaRPr lang="nl-NL" dirty="0"/>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20</a:t>
            </a:fld>
            <a:endParaRPr lang="nl-NL"/>
          </a:p>
        </p:txBody>
      </p:sp>
    </p:spTree>
    <p:extLst>
      <p:ext uri="{BB962C8B-B14F-4D97-AF65-F5344CB8AC3E}">
        <p14:creationId xmlns:p14="http://schemas.microsoft.com/office/powerpoint/2010/main" val="766818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Samen met </a:t>
            </a:r>
            <a:r>
              <a:rPr lang="nl-NL" dirty="0" err="1"/>
              <a:t>onderzoeks</a:t>
            </a:r>
            <a:r>
              <a:rPr lang="nl-NL" dirty="0"/>
              <a:t> instituten, met de </a:t>
            </a:r>
            <a:r>
              <a:rPr lang="nl-NL" dirty="0" err="1"/>
              <a:t>agrier</a:t>
            </a:r>
            <a:r>
              <a:rPr lang="nl-NL" dirty="0"/>
              <a:t>, met jan broos kijken we </a:t>
            </a:r>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21</a:t>
            </a:fld>
            <a:endParaRPr lang="nl-NL"/>
          </a:p>
        </p:txBody>
      </p:sp>
    </p:spTree>
    <p:extLst>
      <p:ext uri="{BB962C8B-B14F-4D97-AF65-F5344CB8AC3E}">
        <p14:creationId xmlns:p14="http://schemas.microsoft.com/office/powerpoint/2010/main" val="17255778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2700" marR="5080" indent="0">
              <a:lnSpc>
                <a:spcPts val="3890"/>
              </a:lnSpc>
              <a:spcBef>
                <a:spcPts val="590"/>
              </a:spcBef>
              <a:buFont typeface="Arial" panose="020B0604020202020204" pitchFamily="34" charset="0"/>
              <a:buNone/>
            </a:pPr>
            <a:r>
              <a:rPr lang="nl-NL" sz="1200" dirty="0">
                <a:solidFill>
                  <a:srgbClr val="FFFFFF"/>
                </a:solidFill>
                <a:latin typeface="Arial"/>
                <a:cs typeface="Arial"/>
              </a:rPr>
              <a:t>Krijg informatie vanuit je netwerk. </a:t>
            </a:r>
          </a:p>
          <a:p>
            <a:pPr marL="12700" marR="5080" indent="0">
              <a:lnSpc>
                <a:spcPts val="3890"/>
              </a:lnSpc>
              <a:spcBef>
                <a:spcPts val="590"/>
              </a:spcBef>
              <a:buFont typeface="Arial" panose="020B0604020202020204" pitchFamily="34" charset="0"/>
              <a:buNone/>
            </a:pPr>
            <a:r>
              <a:rPr lang="nl-NL" sz="1200" dirty="0">
                <a:solidFill>
                  <a:srgbClr val="FFFFFF"/>
                </a:solidFill>
                <a:latin typeface="Arial"/>
                <a:cs typeface="Arial"/>
              </a:rPr>
              <a:t>Ieder gedeelte, nieuw of oud. </a:t>
            </a:r>
          </a:p>
          <a:p>
            <a:pPr marL="12700" marR="5080" indent="0">
              <a:lnSpc>
                <a:spcPts val="3890"/>
              </a:lnSpc>
              <a:spcBef>
                <a:spcPts val="590"/>
              </a:spcBef>
              <a:buFont typeface="Arial" panose="020B0604020202020204" pitchFamily="34" charset="0"/>
              <a:buNone/>
            </a:pPr>
            <a:r>
              <a:rPr lang="nl-NL" sz="1200" dirty="0">
                <a:solidFill>
                  <a:srgbClr val="FFFFFF"/>
                </a:solidFill>
                <a:latin typeface="Arial"/>
                <a:cs typeface="Arial"/>
              </a:rPr>
              <a:t>Weet wat er daadwerkelijk gebeurt. </a:t>
            </a:r>
            <a:endParaRPr lang="nl-NL" sz="1200" dirty="0">
              <a:latin typeface="Arial"/>
              <a:cs typeface="Arial"/>
            </a:endParaRPr>
          </a:p>
          <a:p>
            <a:endParaRPr lang="nl-NL" dirty="0"/>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24</a:t>
            </a:fld>
            <a:endParaRPr lang="nl-NL"/>
          </a:p>
        </p:txBody>
      </p:sp>
    </p:spTree>
    <p:extLst>
      <p:ext uri="{BB962C8B-B14F-4D97-AF65-F5344CB8AC3E}">
        <p14:creationId xmlns:p14="http://schemas.microsoft.com/office/powerpoint/2010/main" val="35573748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solidFill>
                  <a:schemeClr val="tx2"/>
                </a:solidFill>
                <a:latin typeface="Arial" panose="020B0604020202020204" pitchFamily="34" charset="0"/>
                <a:cs typeface="Arial" panose="020B0604020202020204" pitchFamily="34" charset="0"/>
              </a:rPr>
              <a:t>Psychologische veiligheid is de overtuiging dat iemand </a:t>
            </a:r>
          </a:p>
          <a:p>
            <a:r>
              <a:rPr lang="nl-NL" dirty="0">
                <a:solidFill>
                  <a:schemeClr val="tx2"/>
                </a:solidFill>
                <a:latin typeface="Arial" panose="020B0604020202020204" pitchFamily="34" charset="0"/>
                <a:cs typeface="Arial" panose="020B0604020202020204" pitchFamily="34" charset="0"/>
              </a:rPr>
              <a:t>niet gestraft of vernederd zal worden als hij of zij zijn of </a:t>
            </a:r>
          </a:p>
          <a:p>
            <a:r>
              <a:rPr lang="nl-NL" dirty="0">
                <a:solidFill>
                  <a:schemeClr val="tx2"/>
                </a:solidFill>
                <a:latin typeface="Arial" panose="020B0604020202020204" pitchFamily="34" charset="0"/>
                <a:cs typeface="Arial" panose="020B0604020202020204" pitchFamily="34" charset="0"/>
              </a:rPr>
              <a:t>haar ideeën, vragen, zorgen of fouten kenbaar maakt</a:t>
            </a:r>
            <a:endParaRPr lang="nl-NL" dirty="0"/>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26</a:t>
            </a:fld>
            <a:endParaRPr lang="nl-NL"/>
          </a:p>
        </p:txBody>
      </p:sp>
    </p:spTree>
    <p:extLst>
      <p:ext uri="{BB962C8B-B14F-4D97-AF65-F5344CB8AC3E}">
        <p14:creationId xmlns:p14="http://schemas.microsoft.com/office/powerpoint/2010/main" val="1372166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solidFill>
                  <a:schemeClr val="tx2"/>
                </a:solidFill>
              </a:rPr>
              <a:t>Open gesprek faciliteren</a:t>
            </a:r>
          </a:p>
          <a:p>
            <a:r>
              <a:rPr lang="nl-NL" dirty="0">
                <a:solidFill>
                  <a:schemeClr val="tx2"/>
                </a:solidFill>
              </a:rPr>
              <a:t>Een team dat open en eerlijke gesprekken voert, is in staat om moeilijke problemen beter aan te pakken.</a:t>
            </a:r>
          </a:p>
          <a:p>
            <a:endParaRPr lang="nl-NL" dirty="0">
              <a:solidFill>
                <a:schemeClr val="tx2"/>
              </a:solidFill>
            </a:endParaRPr>
          </a:p>
          <a:p>
            <a:r>
              <a:rPr lang="nl-NL" b="1" dirty="0">
                <a:solidFill>
                  <a:schemeClr val="tx2"/>
                </a:solidFill>
              </a:rPr>
              <a:t>Betrokkenheid vergroten</a:t>
            </a:r>
          </a:p>
          <a:p>
            <a:r>
              <a:rPr lang="nl-NL" dirty="0">
                <a:solidFill>
                  <a:schemeClr val="tx2"/>
                </a:solidFill>
              </a:rPr>
              <a:t>Als teamleden zich betrokken voelen, zijn ze zijn ze meer geneigd zich uit te spreken, bij te dragen en iets toe te voegen aan de groep.</a:t>
            </a:r>
          </a:p>
          <a:p>
            <a:endParaRPr lang="nl-NL" dirty="0">
              <a:solidFill>
                <a:schemeClr val="tx2"/>
              </a:solidFill>
            </a:endParaRPr>
          </a:p>
          <a:p>
            <a:r>
              <a:rPr lang="nl-NL" b="1" dirty="0">
                <a:solidFill>
                  <a:schemeClr val="tx2"/>
                </a:solidFill>
              </a:rPr>
              <a:t>Houding tegenover risico en mislukking</a:t>
            </a:r>
          </a:p>
          <a:p>
            <a:r>
              <a:rPr lang="nl-NL" dirty="0">
                <a:solidFill>
                  <a:schemeClr val="tx2"/>
                </a:solidFill>
              </a:rPr>
              <a:t>Teams die elkaar fouten kwalijk nemen, riskeren een gebrek aan controle en verlies van momentum.</a:t>
            </a:r>
          </a:p>
          <a:p>
            <a:endParaRPr lang="nl-NL" dirty="0">
              <a:solidFill>
                <a:schemeClr val="tx2"/>
              </a:solidFill>
            </a:endParaRPr>
          </a:p>
          <a:p>
            <a:r>
              <a:rPr lang="nl-NL" b="1" dirty="0">
                <a:solidFill>
                  <a:schemeClr val="tx2"/>
                </a:solidFill>
              </a:rPr>
              <a:t>Bereidheid om te helpen</a:t>
            </a:r>
          </a:p>
          <a:p>
            <a:r>
              <a:rPr lang="nl-NL" dirty="0">
                <a:solidFill>
                  <a:schemeClr val="tx2"/>
                </a:solidFill>
              </a:rPr>
              <a:t>Teams worden onveilig wanneer mensen niet in staat zijn elkaar te helpen of zich niet gewaardeerd voelen door teamleden</a:t>
            </a:r>
          </a:p>
          <a:p>
            <a:endParaRPr lang="nl-NL" dirty="0"/>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27</a:t>
            </a:fld>
            <a:endParaRPr lang="nl-NL"/>
          </a:p>
        </p:txBody>
      </p:sp>
    </p:spTree>
    <p:extLst>
      <p:ext uri="{BB962C8B-B14F-4D97-AF65-F5344CB8AC3E}">
        <p14:creationId xmlns:p14="http://schemas.microsoft.com/office/powerpoint/2010/main" val="733857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k werk zelf voornamelijk rondom water. Drinkwater, en zoetwater in de agrarische sector, hier zal ik dan ook de nadruk op leggen in mijn presentatie. </a:t>
            </a:r>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6</a:t>
            </a:fld>
            <a:endParaRPr lang="nl-NL"/>
          </a:p>
        </p:txBody>
      </p:sp>
    </p:spTree>
    <p:extLst>
      <p:ext uri="{BB962C8B-B14F-4D97-AF65-F5344CB8AC3E}">
        <p14:creationId xmlns:p14="http://schemas.microsoft.com/office/powerpoint/2010/main" val="395611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Naar zoetwater – van drinkwater, naar </a:t>
            </a:r>
            <a:r>
              <a:rPr lang="nl-NL" dirty="0" err="1"/>
              <a:t>europees</a:t>
            </a:r>
            <a:r>
              <a:rPr lang="nl-NL" dirty="0"/>
              <a:t>, drainage, glastuinbouw, tuinbouw, open teelten, akkerbouw, irrigatie, drainage, gehele waterketen. </a:t>
            </a:r>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8</a:t>
            </a:fld>
            <a:endParaRPr lang="nl-NL"/>
          </a:p>
        </p:txBody>
      </p:sp>
    </p:spTree>
    <p:extLst>
      <p:ext uri="{BB962C8B-B14F-4D97-AF65-F5344CB8AC3E}">
        <p14:creationId xmlns:p14="http://schemas.microsoft.com/office/powerpoint/2010/main" val="3143358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7b295032b1_0_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 name="Google Shape;162;g7b295032b1_0_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g7b295032b1_0_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 name="Google Shape;188;g7b295032b1_0_1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gdb18edb535_1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 name="Google Shape;215;gdb18edb535_1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nl-NL" sz="1800" b="1" dirty="0">
                <a:solidFill>
                  <a:srgbClr val="444444"/>
                </a:solidFill>
                <a:latin typeface="Poppins"/>
                <a:ea typeface="Poppins"/>
                <a:cs typeface="Poppins"/>
                <a:sym typeface="Poppins"/>
              </a:rPr>
              <a:t>Katalysatoren voor innovatie.</a:t>
            </a:r>
          </a:p>
          <a:p>
            <a:endParaRPr lang="nl-NL" sz="2000" b="1" dirty="0">
              <a:solidFill>
                <a:srgbClr val="444444"/>
              </a:solidFill>
              <a:latin typeface="Poppins"/>
              <a:ea typeface="Poppins"/>
              <a:cs typeface="Poppins"/>
              <a:sym typeface="Poppins"/>
            </a:endParaRP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Strategie met concrete doelstellingen en voldoende middelen.</a:t>
            </a: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Informatie wat klanten willen zodat hierop gestuurd kan worden. </a:t>
            </a: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Samenwerking om een hogere kwaliteit innovatie tegen lagere kosten te bereiken.</a:t>
            </a: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Vertrouwen tussen de verschillende partijen om samen nieuwe oplossingen te ontwikkelen. </a:t>
            </a:r>
          </a:p>
        </p:txBody>
      </p:sp>
      <p:sp>
        <p:nvSpPr>
          <p:cNvPr id="230" name="Google Shape;23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74156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nl-NL" sz="1800" b="1" dirty="0">
                <a:solidFill>
                  <a:srgbClr val="444444"/>
                </a:solidFill>
                <a:latin typeface="Poppins"/>
                <a:ea typeface="Poppins"/>
                <a:cs typeface="Poppins"/>
                <a:sym typeface="Poppins"/>
              </a:rPr>
              <a:t>Katalysatoren voor innovatie.</a:t>
            </a:r>
          </a:p>
          <a:p>
            <a:endParaRPr lang="nl-NL" sz="2000" b="1" dirty="0">
              <a:solidFill>
                <a:srgbClr val="444444"/>
              </a:solidFill>
              <a:latin typeface="Poppins"/>
              <a:ea typeface="Poppins"/>
              <a:cs typeface="Poppins"/>
              <a:sym typeface="Poppins"/>
            </a:endParaRP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Strategie met concrete doelstellingen en voldoende middelen.</a:t>
            </a: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Informatie wat klanten willen zodat hierop gestuurd kan worden. </a:t>
            </a: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Samenwerking om een hogere kwaliteit innovatie tegen lagere kosten te bereiken.</a:t>
            </a:r>
          </a:p>
          <a:p>
            <a:pPr marL="609585" indent="-423323">
              <a:buClr>
                <a:srgbClr val="444444"/>
              </a:buClr>
              <a:buSzPts val="1400"/>
              <a:buFont typeface="Poppins"/>
              <a:buChar char="●"/>
            </a:pPr>
            <a:r>
              <a:rPr lang="nl-NL" sz="1200" dirty="0">
                <a:solidFill>
                  <a:srgbClr val="444444"/>
                </a:solidFill>
                <a:latin typeface="Poppins"/>
                <a:ea typeface="Poppins"/>
                <a:cs typeface="Poppins"/>
                <a:sym typeface="Poppins"/>
              </a:rPr>
              <a:t>Vertrouwen tussen de verschillende partijen om samen nieuwe oplossingen te ontwikkelen. </a:t>
            </a:r>
          </a:p>
        </p:txBody>
      </p:sp>
      <p:sp>
        <p:nvSpPr>
          <p:cNvPr id="230" name="Google Shape;23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36773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ij een waardeketen ligt de nadruk om goedkoop inkopen, marges maken in de doorverkoop. Relaties zijn vrij plat, lineair en er worden doelen nagestreefd. </a:t>
            </a:r>
          </a:p>
          <a:p>
            <a:r>
              <a:rPr lang="nl-NL" dirty="0"/>
              <a:t>Bij een </a:t>
            </a:r>
            <a:r>
              <a:rPr lang="nl-NL" dirty="0" err="1"/>
              <a:t>eco</a:t>
            </a:r>
            <a:r>
              <a:rPr lang="nl-NL" dirty="0"/>
              <a:t> systeem zijn er veel dynamischere, </a:t>
            </a:r>
            <a:r>
              <a:rPr lang="nl-NL" dirty="0" err="1"/>
              <a:t>complere</a:t>
            </a:r>
            <a:r>
              <a:rPr lang="nl-NL" dirty="0"/>
              <a:t> relatie en staat ‘ons’ centraal. In het netwerk brengt iedereen dingen in en moet iedereen iets krijgen. Het houdt zichzelf levend en in balans, niet door actie reactie, maar door een samenspel. </a:t>
            </a:r>
          </a:p>
          <a:p>
            <a:endParaRPr lang="nl-NL" dirty="0"/>
          </a:p>
        </p:txBody>
      </p:sp>
      <p:sp>
        <p:nvSpPr>
          <p:cNvPr id="4" name="Tijdelijke aanduiding voor dianummer 3"/>
          <p:cNvSpPr>
            <a:spLocks noGrp="1"/>
          </p:cNvSpPr>
          <p:nvPr>
            <p:ph type="sldNum" sz="quarter" idx="5"/>
          </p:nvPr>
        </p:nvSpPr>
        <p:spPr/>
        <p:txBody>
          <a:bodyPr/>
          <a:lstStyle/>
          <a:p>
            <a:fld id="{6BB7C366-DCCA-444E-9C5E-506856BDB07F}" type="slidenum">
              <a:rPr lang="nl-NL" smtClean="0"/>
              <a:t>15</a:t>
            </a:fld>
            <a:endParaRPr lang="nl-NL"/>
          </a:p>
        </p:txBody>
      </p:sp>
    </p:spTree>
    <p:extLst>
      <p:ext uri="{BB962C8B-B14F-4D97-AF65-F5344CB8AC3E}">
        <p14:creationId xmlns:p14="http://schemas.microsoft.com/office/powerpoint/2010/main" val="14739256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0" name="Rectangle 219">
            <a:extLst>
              <a:ext uri="{FF2B5EF4-FFF2-40B4-BE49-F238E27FC236}">
                <a16:creationId xmlns:a16="http://schemas.microsoft.com/office/drawing/2014/main" id="{E970CBB1-3F25-44EF-A6B8-2219DE80F1E6}"/>
              </a:ext>
            </a:extLst>
          </p:cNvPr>
          <p:cNvSpPr/>
          <p:nvPr userDrawn="1"/>
        </p:nvSpPr>
        <p:spPr>
          <a:xfrm>
            <a:off x="0" y="0"/>
            <a:ext cx="12192000" cy="6858000"/>
          </a:xfrm>
          <a:prstGeom prst="rect">
            <a:avLst/>
          </a:prstGeom>
          <a:solidFill>
            <a:schemeClr val="accent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Arc 220">
            <a:extLst>
              <a:ext uri="{FF2B5EF4-FFF2-40B4-BE49-F238E27FC236}">
                <a16:creationId xmlns:a16="http://schemas.microsoft.com/office/drawing/2014/main" id="{32E2B889-41FC-4724-93F6-48A4DEF90230}"/>
              </a:ext>
            </a:extLst>
          </p:cNvPr>
          <p:cNvSpPr/>
          <p:nvPr userDrawn="1"/>
        </p:nvSpPr>
        <p:spPr>
          <a:xfrm>
            <a:off x="8301789" y="-866274"/>
            <a:ext cx="4066673" cy="4066673"/>
          </a:xfrm>
          <a:prstGeom prst="arc">
            <a:avLst>
              <a:gd name="adj1" fmla="val 1409913"/>
              <a:gd name="adj2" fmla="val 12880072"/>
            </a:avLst>
          </a:prstGeom>
          <a:ln w="19050">
            <a:solidFill>
              <a:schemeClr val="bg1">
                <a:alpha val="12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36750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s slide layout">
    <p:bg>
      <p:bgPr>
        <a:solidFill>
          <a:schemeClr val="bg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1" y="339509"/>
            <a:ext cx="12192000" cy="792605"/>
          </a:xfrm>
          <a:prstGeom prst="rect">
            <a:avLst/>
          </a:prstGeom>
        </p:spPr>
        <p:txBody>
          <a:bodyPr anchor="ctr"/>
          <a:lstStyle>
            <a:lvl1pPr marL="0" indent="0" algn="ctr">
              <a:lnSpc>
                <a:spcPct val="100000"/>
              </a:lnSpc>
              <a:buNone/>
              <a:defRPr sz="5400" b="0" baseline="0">
                <a:solidFill>
                  <a:schemeClr val="tx1">
                    <a:lumMod val="75000"/>
                    <a:lumOff val="2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816250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0E8D5F8-DCBB-4697-978C-9F18383C891F}"/>
              </a:ext>
            </a:extLst>
          </p:cNvPr>
          <p:cNvSpPr/>
          <p:nvPr userDrawn="1"/>
        </p:nvSpPr>
        <p:spPr>
          <a:xfrm>
            <a:off x="0" y="161317"/>
            <a:ext cx="11191164" cy="1026038"/>
          </a:xfrm>
          <a:custGeom>
            <a:avLst/>
            <a:gdLst>
              <a:gd name="connsiteX0" fmla="*/ 0 w 11191164"/>
              <a:gd name="connsiteY0" fmla="*/ 0 h 1026038"/>
              <a:gd name="connsiteX1" fmla="*/ 10678145 w 11191164"/>
              <a:gd name="connsiteY1" fmla="*/ 0 h 1026038"/>
              <a:gd name="connsiteX2" fmla="*/ 11191164 w 11191164"/>
              <a:gd name="connsiteY2" fmla="*/ 513019 h 1026038"/>
              <a:gd name="connsiteX3" fmla="*/ 10678145 w 11191164"/>
              <a:gd name="connsiteY3" fmla="*/ 1026038 h 1026038"/>
              <a:gd name="connsiteX4" fmla="*/ 0 w 11191164"/>
              <a:gd name="connsiteY4" fmla="*/ 1026038 h 1026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1164" h="1026038">
                <a:moveTo>
                  <a:pt x="0" y="0"/>
                </a:moveTo>
                <a:lnTo>
                  <a:pt x="10678145" y="0"/>
                </a:lnTo>
                <a:cubicBezTo>
                  <a:pt x="10961478" y="0"/>
                  <a:pt x="11191164" y="229686"/>
                  <a:pt x="11191164" y="513019"/>
                </a:cubicBezTo>
                <a:cubicBezTo>
                  <a:pt x="11191164" y="796352"/>
                  <a:pt x="10961478" y="1026038"/>
                  <a:pt x="10678145" y="1026038"/>
                </a:cubicBezTo>
                <a:lnTo>
                  <a:pt x="0" y="102603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9"/>
          <p:cNvSpPr>
            <a:spLocks noGrp="1"/>
          </p:cNvSpPr>
          <p:nvPr>
            <p:ph type="body" sz="quarter" idx="10" hasCustomPrompt="1"/>
          </p:nvPr>
        </p:nvSpPr>
        <p:spPr>
          <a:xfrm>
            <a:off x="2120734" y="339509"/>
            <a:ext cx="9775991" cy="724247"/>
          </a:xfrm>
          <a:prstGeom prst="rect">
            <a:avLst/>
          </a:prstGeom>
        </p:spPr>
        <p:txBody>
          <a:bodyPr anchor="ctr"/>
          <a:lstStyle>
            <a:lvl1pPr marL="0" indent="0" algn="l">
              <a:buNone/>
              <a:defRPr sz="5400" b="0" baseline="0">
                <a:solidFill>
                  <a:schemeClr val="bg1"/>
                </a:solidFill>
                <a:latin typeface="+mj-lt"/>
                <a:cs typeface="Arial" pitchFamily="34" charset="0"/>
              </a:defRPr>
            </a:lvl1pPr>
          </a:lstStyle>
          <a:p>
            <a:pPr lvl="0"/>
            <a:r>
              <a:rPr lang="en-US" altLang="ko-KR" dirty="0"/>
              <a:t>BASIC LAYOUT</a:t>
            </a:r>
          </a:p>
        </p:txBody>
      </p:sp>
      <p:sp>
        <p:nvSpPr>
          <p:cNvPr id="9" name="Freeform: Shape 8">
            <a:extLst>
              <a:ext uri="{FF2B5EF4-FFF2-40B4-BE49-F238E27FC236}">
                <a16:creationId xmlns:a16="http://schemas.microsoft.com/office/drawing/2014/main" id="{A01515AE-4193-4204-AAE3-28BCF655ED34}"/>
              </a:ext>
            </a:extLst>
          </p:cNvPr>
          <p:cNvSpPr/>
          <p:nvPr userDrawn="1"/>
        </p:nvSpPr>
        <p:spPr>
          <a:xfrm>
            <a:off x="11288971" y="161317"/>
            <a:ext cx="903029" cy="1026038"/>
          </a:xfrm>
          <a:custGeom>
            <a:avLst/>
            <a:gdLst>
              <a:gd name="connsiteX0" fmla="*/ 513019 w 903029"/>
              <a:gd name="connsiteY0" fmla="*/ 0 h 1026038"/>
              <a:gd name="connsiteX1" fmla="*/ 903029 w 903029"/>
              <a:gd name="connsiteY1" fmla="*/ 0 h 1026038"/>
              <a:gd name="connsiteX2" fmla="*/ 903029 w 903029"/>
              <a:gd name="connsiteY2" fmla="*/ 1026038 h 1026038"/>
              <a:gd name="connsiteX3" fmla="*/ 513019 w 903029"/>
              <a:gd name="connsiteY3" fmla="*/ 1026038 h 1026038"/>
              <a:gd name="connsiteX4" fmla="*/ 0 w 903029"/>
              <a:gd name="connsiteY4" fmla="*/ 513019 h 1026038"/>
              <a:gd name="connsiteX5" fmla="*/ 513019 w 903029"/>
              <a:gd name="connsiteY5" fmla="*/ 0 h 102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029" h="1026038">
                <a:moveTo>
                  <a:pt x="513019" y="0"/>
                </a:moveTo>
                <a:lnTo>
                  <a:pt x="903029" y="0"/>
                </a:lnTo>
                <a:lnTo>
                  <a:pt x="903029" y="1026038"/>
                </a:lnTo>
                <a:lnTo>
                  <a:pt x="513019" y="1026038"/>
                </a:lnTo>
                <a:cubicBezTo>
                  <a:pt x="229686" y="1026038"/>
                  <a:pt x="0" y="796352"/>
                  <a:pt x="0" y="513019"/>
                </a:cubicBezTo>
                <a:cubicBezTo>
                  <a:pt x="0" y="229686"/>
                  <a:pt x="229686" y="0"/>
                  <a:pt x="513019"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2E85EEDE-B30C-8240-B0FD-2FED47BCBFC1}"/>
              </a:ext>
            </a:extLst>
          </p:cNvPr>
          <p:cNvSpPr txBox="1"/>
          <p:nvPr userDrawn="1"/>
        </p:nvSpPr>
        <p:spPr>
          <a:xfrm>
            <a:off x="0" y="74171"/>
            <a:ext cx="1544012" cy="1200329"/>
          </a:xfrm>
          <a:prstGeom prst="rect">
            <a:avLst/>
          </a:prstGeom>
          <a:noFill/>
        </p:spPr>
        <p:txBody>
          <a:bodyPr wrap="none" rtlCol="0">
            <a:spAutoFit/>
          </a:bodyPr>
          <a:lstStyle/>
          <a:p>
            <a:r>
              <a:rPr lang="en-GB" sz="7200" b="1" spc="-300" dirty="0">
                <a:solidFill>
                  <a:schemeClr val="bg1"/>
                </a:solidFill>
                <a:latin typeface="Arial Narrow" panose="020B0604020202020204" pitchFamily="34" charset="0"/>
                <a:ea typeface="+mj-ea"/>
                <a:cs typeface="Arial Black" panose="020B0604020202020204" pitchFamily="34" charset="0"/>
              </a:rPr>
              <a:t>I&amp;</a:t>
            </a:r>
            <a:r>
              <a:rPr lang="en-GB" sz="7200" b="1" spc="-300" dirty="0">
                <a:solidFill>
                  <a:schemeClr val="bg1"/>
                </a:solidFill>
                <a:latin typeface="Arial Black" panose="020B0604020202020204" pitchFamily="34" charset="0"/>
                <a:ea typeface="+mj-ea"/>
                <a:cs typeface="Arial Black" panose="020B0604020202020204" pitchFamily="34" charset="0"/>
              </a:rPr>
              <a:t>D</a:t>
            </a:r>
            <a:endParaRPr lang="en-GB" sz="700" b="1" spc="-300" dirty="0">
              <a:solidFill>
                <a:schemeClr val="bg1"/>
              </a:solidFill>
              <a:latin typeface="Arial Black" panose="020B0604020202020204" pitchFamily="34" charset="0"/>
              <a:ea typeface="+mj-ea"/>
              <a:cs typeface="Arial Black" panose="020B0604020202020204" pitchFamily="34" charset="0"/>
            </a:endParaRPr>
          </a:p>
        </p:txBody>
      </p:sp>
      <p:sp>
        <p:nvSpPr>
          <p:cNvPr id="8" name="Freeform: Shape 694">
            <a:extLst>
              <a:ext uri="{FF2B5EF4-FFF2-40B4-BE49-F238E27FC236}">
                <a16:creationId xmlns:a16="http://schemas.microsoft.com/office/drawing/2014/main" id="{D52E928C-788D-0040-B0CD-F2931C130284}"/>
              </a:ext>
            </a:extLst>
          </p:cNvPr>
          <p:cNvSpPr>
            <a:spLocks noChangeAspect="1"/>
          </p:cNvSpPr>
          <p:nvPr userDrawn="1"/>
        </p:nvSpPr>
        <p:spPr>
          <a:xfrm flipH="1">
            <a:off x="921558" y="319073"/>
            <a:ext cx="447572" cy="666000"/>
          </a:xfrm>
          <a:custGeom>
            <a:avLst/>
            <a:gdLst>
              <a:gd name="connsiteX0" fmla="*/ 1172051 w 1247775"/>
              <a:gd name="connsiteY0" fmla="*/ 974884 h 1857375"/>
              <a:gd name="connsiteX1" fmla="*/ 1037749 w 1247775"/>
              <a:gd name="connsiteY1" fmla="*/ 787241 h 1857375"/>
              <a:gd name="connsiteX2" fmla="*/ 1026319 w 1247775"/>
              <a:gd name="connsiteY2" fmla="*/ 764381 h 1857375"/>
              <a:gd name="connsiteX3" fmla="*/ 1023461 w 1247775"/>
              <a:gd name="connsiteY3" fmla="*/ 751046 h 1857375"/>
              <a:gd name="connsiteX4" fmla="*/ 1024414 w 1247775"/>
              <a:gd name="connsiteY4" fmla="*/ 750094 h 1857375"/>
              <a:gd name="connsiteX5" fmla="*/ 1025366 w 1247775"/>
              <a:gd name="connsiteY5" fmla="*/ 744379 h 1857375"/>
              <a:gd name="connsiteX6" fmla="*/ 1022509 w 1247775"/>
              <a:gd name="connsiteY6" fmla="*/ 731996 h 1857375"/>
              <a:gd name="connsiteX7" fmla="*/ 1037749 w 1247775"/>
              <a:gd name="connsiteY7" fmla="*/ 609124 h 1857375"/>
              <a:gd name="connsiteX8" fmla="*/ 1025366 w 1247775"/>
              <a:gd name="connsiteY8" fmla="*/ 473869 h 1857375"/>
              <a:gd name="connsiteX9" fmla="*/ 1025366 w 1247775"/>
              <a:gd name="connsiteY9" fmla="*/ 472916 h 1857375"/>
              <a:gd name="connsiteX10" fmla="*/ 1023461 w 1247775"/>
              <a:gd name="connsiteY10" fmla="*/ 463391 h 1857375"/>
              <a:gd name="connsiteX11" fmla="*/ 1020604 w 1247775"/>
              <a:gd name="connsiteY11" fmla="*/ 450056 h 1857375"/>
              <a:gd name="connsiteX12" fmla="*/ 1021556 w 1247775"/>
              <a:gd name="connsiteY12" fmla="*/ 442436 h 1857375"/>
              <a:gd name="connsiteX13" fmla="*/ 1014889 w 1247775"/>
              <a:gd name="connsiteY13" fmla="*/ 424339 h 1857375"/>
              <a:gd name="connsiteX14" fmla="*/ 1000601 w 1247775"/>
              <a:gd name="connsiteY14" fmla="*/ 362426 h 1857375"/>
              <a:gd name="connsiteX15" fmla="*/ 996791 w 1247775"/>
              <a:gd name="connsiteY15" fmla="*/ 347186 h 1857375"/>
              <a:gd name="connsiteX16" fmla="*/ 994886 w 1247775"/>
              <a:gd name="connsiteY16" fmla="*/ 339566 h 1857375"/>
              <a:gd name="connsiteX17" fmla="*/ 892969 w 1247775"/>
              <a:gd name="connsiteY17" fmla="*/ 148114 h 1857375"/>
              <a:gd name="connsiteX18" fmla="*/ 891064 w 1247775"/>
              <a:gd name="connsiteY18" fmla="*/ 144304 h 1857375"/>
              <a:gd name="connsiteX19" fmla="*/ 891064 w 1247775"/>
              <a:gd name="connsiteY19" fmla="*/ 144304 h 1857375"/>
              <a:gd name="connsiteX20" fmla="*/ 886301 w 1247775"/>
              <a:gd name="connsiteY20" fmla="*/ 137636 h 1857375"/>
              <a:gd name="connsiteX21" fmla="*/ 842486 w 1247775"/>
              <a:gd name="connsiteY21" fmla="*/ 97631 h 1857375"/>
              <a:gd name="connsiteX22" fmla="*/ 821531 w 1247775"/>
              <a:gd name="connsiteY22" fmla="*/ 103346 h 1857375"/>
              <a:gd name="connsiteX23" fmla="*/ 803434 w 1247775"/>
              <a:gd name="connsiteY23" fmla="*/ 80486 h 1857375"/>
              <a:gd name="connsiteX24" fmla="*/ 784384 w 1247775"/>
              <a:gd name="connsiteY24" fmla="*/ 63341 h 1857375"/>
              <a:gd name="connsiteX25" fmla="*/ 751046 w 1247775"/>
              <a:gd name="connsiteY25" fmla="*/ 40481 h 1857375"/>
              <a:gd name="connsiteX26" fmla="*/ 719614 w 1247775"/>
              <a:gd name="connsiteY26" fmla="*/ 58579 h 1857375"/>
              <a:gd name="connsiteX27" fmla="*/ 708184 w 1247775"/>
              <a:gd name="connsiteY27" fmla="*/ 55721 h 1857375"/>
              <a:gd name="connsiteX28" fmla="*/ 704374 w 1247775"/>
              <a:gd name="connsiteY28" fmla="*/ 55721 h 1857375"/>
              <a:gd name="connsiteX29" fmla="*/ 698659 w 1247775"/>
              <a:gd name="connsiteY29" fmla="*/ 48101 h 1857375"/>
              <a:gd name="connsiteX30" fmla="*/ 703421 w 1247775"/>
              <a:gd name="connsiteY30" fmla="*/ 37624 h 1857375"/>
              <a:gd name="connsiteX31" fmla="*/ 688181 w 1247775"/>
              <a:gd name="connsiteY31" fmla="*/ 22384 h 1857375"/>
              <a:gd name="connsiteX32" fmla="*/ 679609 w 1247775"/>
              <a:gd name="connsiteY32" fmla="*/ 25241 h 1857375"/>
              <a:gd name="connsiteX33" fmla="*/ 667226 w 1247775"/>
              <a:gd name="connsiteY33" fmla="*/ 16669 h 1857375"/>
              <a:gd name="connsiteX34" fmla="*/ 667226 w 1247775"/>
              <a:gd name="connsiteY34" fmla="*/ 16669 h 1857375"/>
              <a:gd name="connsiteX35" fmla="*/ 652939 w 1247775"/>
              <a:gd name="connsiteY35" fmla="*/ 7144 h 1857375"/>
              <a:gd name="connsiteX36" fmla="*/ 637699 w 1247775"/>
              <a:gd name="connsiteY36" fmla="*/ 22384 h 1857375"/>
              <a:gd name="connsiteX37" fmla="*/ 652939 w 1247775"/>
              <a:gd name="connsiteY37" fmla="*/ 37624 h 1857375"/>
              <a:gd name="connsiteX38" fmla="*/ 658654 w 1247775"/>
              <a:gd name="connsiteY38" fmla="*/ 36671 h 1857375"/>
              <a:gd name="connsiteX39" fmla="*/ 667226 w 1247775"/>
              <a:gd name="connsiteY39" fmla="*/ 40481 h 1857375"/>
              <a:gd name="connsiteX40" fmla="*/ 671989 w 1247775"/>
              <a:gd name="connsiteY40" fmla="*/ 39529 h 1857375"/>
              <a:gd name="connsiteX41" fmla="*/ 673894 w 1247775"/>
              <a:gd name="connsiteY41" fmla="*/ 45244 h 1857375"/>
              <a:gd name="connsiteX42" fmla="*/ 667226 w 1247775"/>
              <a:gd name="connsiteY42" fmla="*/ 50006 h 1857375"/>
              <a:gd name="connsiteX43" fmla="*/ 652939 w 1247775"/>
              <a:gd name="connsiteY43" fmla="*/ 65246 h 1857375"/>
              <a:gd name="connsiteX44" fmla="*/ 664369 w 1247775"/>
              <a:gd name="connsiteY44" fmla="*/ 80486 h 1857375"/>
              <a:gd name="connsiteX45" fmla="*/ 666274 w 1247775"/>
              <a:gd name="connsiteY45" fmla="*/ 83344 h 1857375"/>
              <a:gd name="connsiteX46" fmla="*/ 661511 w 1247775"/>
              <a:gd name="connsiteY46" fmla="*/ 94774 h 1857375"/>
              <a:gd name="connsiteX47" fmla="*/ 662464 w 1247775"/>
              <a:gd name="connsiteY47" fmla="*/ 101441 h 1857375"/>
              <a:gd name="connsiteX48" fmla="*/ 661511 w 1247775"/>
              <a:gd name="connsiteY48" fmla="*/ 101441 h 1857375"/>
              <a:gd name="connsiteX49" fmla="*/ 640556 w 1247775"/>
              <a:gd name="connsiteY49" fmla="*/ 122396 h 1857375"/>
              <a:gd name="connsiteX50" fmla="*/ 651034 w 1247775"/>
              <a:gd name="connsiteY50" fmla="*/ 140494 h 1857375"/>
              <a:gd name="connsiteX51" fmla="*/ 649129 w 1247775"/>
              <a:gd name="connsiteY51" fmla="*/ 146209 h 1857375"/>
              <a:gd name="connsiteX52" fmla="*/ 659606 w 1247775"/>
              <a:gd name="connsiteY52" fmla="*/ 156686 h 1857375"/>
              <a:gd name="connsiteX53" fmla="*/ 670084 w 1247775"/>
              <a:gd name="connsiteY53" fmla="*/ 146209 h 1857375"/>
              <a:gd name="connsiteX54" fmla="*/ 669131 w 1247775"/>
              <a:gd name="connsiteY54" fmla="*/ 142399 h 1857375"/>
              <a:gd name="connsiteX55" fmla="*/ 672941 w 1247775"/>
              <a:gd name="connsiteY55" fmla="*/ 140494 h 1857375"/>
              <a:gd name="connsiteX56" fmla="*/ 671989 w 1247775"/>
              <a:gd name="connsiteY56" fmla="*/ 145256 h 1857375"/>
              <a:gd name="connsiteX57" fmla="*/ 685324 w 1247775"/>
              <a:gd name="connsiteY57" fmla="*/ 158591 h 1857375"/>
              <a:gd name="connsiteX58" fmla="*/ 698659 w 1247775"/>
              <a:gd name="connsiteY58" fmla="*/ 145256 h 1857375"/>
              <a:gd name="connsiteX59" fmla="*/ 685324 w 1247775"/>
              <a:gd name="connsiteY59" fmla="*/ 131921 h 1857375"/>
              <a:gd name="connsiteX60" fmla="*/ 679609 w 1247775"/>
              <a:gd name="connsiteY60" fmla="*/ 132874 h 1857375"/>
              <a:gd name="connsiteX61" fmla="*/ 681514 w 1247775"/>
              <a:gd name="connsiteY61" fmla="*/ 125254 h 1857375"/>
              <a:gd name="connsiteX62" fmla="*/ 682466 w 1247775"/>
              <a:gd name="connsiteY62" fmla="*/ 125254 h 1857375"/>
              <a:gd name="connsiteX63" fmla="*/ 699611 w 1247775"/>
              <a:gd name="connsiteY63" fmla="*/ 110014 h 1857375"/>
              <a:gd name="connsiteX64" fmla="*/ 706279 w 1247775"/>
              <a:gd name="connsiteY64" fmla="*/ 111919 h 1857375"/>
              <a:gd name="connsiteX65" fmla="*/ 706279 w 1247775"/>
              <a:gd name="connsiteY65" fmla="*/ 113824 h 1857375"/>
              <a:gd name="connsiteX66" fmla="*/ 711994 w 1247775"/>
              <a:gd name="connsiteY66" fmla="*/ 122396 h 1857375"/>
              <a:gd name="connsiteX67" fmla="*/ 738664 w 1247775"/>
              <a:gd name="connsiteY67" fmla="*/ 146209 h 1857375"/>
              <a:gd name="connsiteX68" fmla="*/ 763429 w 1247775"/>
              <a:gd name="connsiteY68" fmla="*/ 130969 h 1857375"/>
              <a:gd name="connsiteX69" fmla="*/ 770096 w 1247775"/>
              <a:gd name="connsiteY69" fmla="*/ 132874 h 1857375"/>
              <a:gd name="connsiteX70" fmla="*/ 778669 w 1247775"/>
              <a:gd name="connsiteY70" fmla="*/ 140494 h 1857375"/>
              <a:gd name="connsiteX71" fmla="*/ 773906 w 1247775"/>
              <a:gd name="connsiteY71" fmla="*/ 145256 h 1857375"/>
              <a:gd name="connsiteX72" fmla="*/ 765334 w 1247775"/>
              <a:gd name="connsiteY72" fmla="*/ 138589 h 1857375"/>
              <a:gd name="connsiteX73" fmla="*/ 756761 w 1247775"/>
              <a:gd name="connsiteY73" fmla="*/ 147161 h 1857375"/>
              <a:gd name="connsiteX74" fmla="*/ 761524 w 1247775"/>
              <a:gd name="connsiteY74" fmla="*/ 154781 h 1857375"/>
              <a:gd name="connsiteX75" fmla="*/ 757714 w 1247775"/>
              <a:gd name="connsiteY75" fmla="*/ 161449 h 1857375"/>
              <a:gd name="connsiteX76" fmla="*/ 759619 w 1247775"/>
              <a:gd name="connsiteY76" fmla="*/ 167164 h 1857375"/>
              <a:gd name="connsiteX77" fmla="*/ 759619 w 1247775"/>
              <a:gd name="connsiteY77" fmla="*/ 169069 h 1857375"/>
              <a:gd name="connsiteX78" fmla="*/ 738664 w 1247775"/>
              <a:gd name="connsiteY78" fmla="*/ 155734 h 1857375"/>
              <a:gd name="connsiteX79" fmla="*/ 735806 w 1247775"/>
              <a:gd name="connsiteY79" fmla="*/ 155734 h 1857375"/>
              <a:gd name="connsiteX80" fmla="*/ 729139 w 1247775"/>
              <a:gd name="connsiteY80" fmla="*/ 152876 h 1857375"/>
              <a:gd name="connsiteX81" fmla="*/ 719614 w 1247775"/>
              <a:gd name="connsiteY81" fmla="*/ 162401 h 1857375"/>
              <a:gd name="connsiteX82" fmla="*/ 720566 w 1247775"/>
              <a:gd name="connsiteY82" fmla="*/ 165259 h 1857375"/>
              <a:gd name="connsiteX83" fmla="*/ 716756 w 1247775"/>
              <a:gd name="connsiteY83" fmla="*/ 173831 h 1857375"/>
              <a:gd name="connsiteX84" fmla="*/ 711994 w 1247775"/>
              <a:gd name="connsiteY84" fmla="*/ 172879 h 1857375"/>
              <a:gd name="connsiteX85" fmla="*/ 691991 w 1247775"/>
              <a:gd name="connsiteY85" fmla="*/ 178594 h 1857375"/>
              <a:gd name="connsiteX86" fmla="*/ 680561 w 1247775"/>
              <a:gd name="connsiteY86" fmla="*/ 175736 h 1857375"/>
              <a:gd name="connsiteX87" fmla="*/ 673894 w 1247775"/>
              <a:gd name="connsiteY87" fmla="*/ 176689 h 1857375"/>
              <a:gd name="connsiteX88" fmla="*/ 675799 w 1247775"/>
              <a:gd name="connsiteY88" fmla="*/ 172879 h 1857375"/>
              <a:gd name="connsiteX89" fmla="*/ 668179 w 1247775"/>
              <a:gd name="connsiteY89" fmla="*/ 165259 h 1857375"/>
              <a:gd name="connsiteX90" fmla="*/ 660559 w 1247775"/>
              <a:gd name="connsiteY90" fmla="*/ 172879 h 1857375"/>
              <a:gd name="connsiteX91" fmla="*/ 667226 w 1247775"/>
              <a:gd name="connsiteY91" fmla="*/ 180499 h 1857375"/>
              <a:gd name="connsiteX92" fmla="*/ 657701 w 1247775"/>
              <a:gd name="connsiteY92" fmla="*/ 199549 h 1857375"/>
              <a:gd name="connsiteX93" fmla="*/ 659606 w 1247775"/>
              <a:gd name="connsiteY93" fmla="*/ 207169 h 1857375"/>
              <a:gd name="connsiteX94" fmla="*/ 654844 w 1247775"/>
              <a:gd name="connsiteY94" fmla="*/ 208121 h 1857375"/>
              <a:gd name="connsiteX95" fmla="*/ 648176 w 1247775"/>
              <a:gd name="connsiteY95" fmla="*/ 205264 h 1857375"/>
              <a:gd name="connsiteX96" fmla="*/ 639604 w 1247775"/>
              <a:gd name="connsiteY96" fmla="*/ 213836 h 1857375"/>
              <a:gd name="connsiteX97" fmla="*/ 640556 w 1247775"/>
              <a:gd name="connsiteY97" fmla="*/ 217646 h 1857375"/>
              <a:gd name="connsiteX98" fmla="*/ 634841 w 1247775"/>
              <a:gd name="connsiteY98" fmla="*/ 226219 h 1857375"/>
              <a:gd name="connsiteX99" fmla="*/ 627221 w 1247775"/>
              <a:gd name="connsiteY99" fmla="*/ 223361 h 1857375"/>
              <a:gd name="connsiteX100" fmla="*/ 613886 w 1247775"/>
              <a:gd name="connsiteY100" fmla="*/ 205264 h 1857375"/>
              <a:gd name="connsiteX101" fmla="*/ 623411 w 1247775"/>
              <a:gd name="connsiteY101" fmla="*/ 203359 h 1857375"/>
              <a:gd name="connsiteX102" fmla="*/ 632936 w 1247775"/>
              <a:gd name="connsiteY102" fmla="*/ 209074 h 1857375"/>
              <a:gd name="connsiteX103" fmla="*/ 644366 w 1247775"/>
              <a:gd name="connsiteY103" fmla="*/ 197644 h 1857375"/>
              <a:gd name="connsiteX104" fmla="*/ 640556 w 1247775"/>
              <a:gd name="connsiteY104" fmla="*/ 189071 h 1857375"/>
              <a:gd name="connsiteX105" fmla="*/ 646271 w 1247775"/>
              <a:gd name="connsiteY105" fmla="*/ 170021 h 1857375"/>
              <a:gd name="connsiteX106" fmla="*/ 619601 w 1247775"/>
              <a:gd name="connsiteY106" fmla="*/ 135731 h 1857375"/>
              <a:gd name="connsiteX107" fmla="*/ 612934 w 1247775"/>
              <a:gd name="connsiteY107" fmla="*/ 132874 h 1857375"/>
              <a:gd name="connsiteX108" fmla="*/ 607219 w 1247775"/>
              <a:gd name="connsiteY108" fmla="*/ 134779 h 1857375"/>
              <a:gd name="connsiteX109" fmla="*/ 600551 w 1247775"/>
              <a:gd name="connsiteY109" fmla="*/ 135731 h 1857375"/>
              <a:gd name="connsiteX110" fmla="*/ 601504 w 1247775"/>
              <a:gd name="connsiteY110" fmla="*/ 129064 h 1857375"/>
              <a:gd name="connsiteX111" fmla="*/ 607219 w 1247775"/>
              <a:gd name="connsiteY111" fmla="*/ 130969 h 1857375"/>
              <a:gd name="connsiteX112" fmla="*/ 616744 w 1247775"/>
              <a:gd name="connsiteY112" fmla="*/ 121444 h 1857375"/>
              <a:gd name="connsiteX113" fmla="*/ 607219 w 1247775"/>
              <a:gd name="connsiteY113" fmla="*/ 111919 h 1857375"/>
              <a:gd name="connsiteX114" fmla="*/ 599599 w 1247775"/>
              <a:gd name="connsiteY114" fmla="*/ 116681 h 1857375"/>
              <a:gd name="connsiteX115" fmla="*/ 591979 w 1247775"/>
              <a:gd name="connsiteY115" fmla="*/ 107156 h 1857375"/>
              <a:gd name="connsiteX116" fmla="*/ 598646 w 1247775"/>
              <a:gd name="connsiteY116" fmla="*/ 108109 h 1857375"/>
              <a:gd name="connsiteX117" fmla="*/ 626269 w 1247775"/>
              <a:gd name="connsiteY117" fmla="*/ 84296 h 1857375"/>
              <a:gd name="connsiteX118" fmla="*/ 631031 w 1247775"/>
              <a:gd name="connsiteY118" fmla="*/ 85249 h 1857375"/>
              <a:gd name="connsiteX119" fmla="*/ 644366 w 1247775"/>
              <a:gd name="connsiteY119" fmla="*/ 71914 h 1857375"/>
              <a:gd name="connsiteX120" fmla="*/ 631031 w 1247775"/>
              <a:gd name="connsiteY120" fmla="*/ 58579 h 1857375"/>
              <a:gd name="connsiteX121" fmla="*/ 620554 w 1247775"/>
              <a:gd name="connsiteY121" fmla="*/ 64294 h 1857375"/>
              <a:gd name="connsiteX122" fmla="*/ 598646 w 1247775"/>
              <a:gd name="connsiteY122" fmla="*/ 53816 h 1857375"/>
              <a:gd name="connsiteX123" fmla="*/ 578644 w 1247775"/>
              <a:gd name="connsiteY123" fmla="*/ 62389 h 1857375"/>
              <a:gd name="connsiteX124" fmla="*/ 578644 w 1247775"/>
              <a:gd name="connsiteY124" fmla="*/ 58579 h 1857375"/>
              <a:gd name="connsiteX125" fmla="*/ 557689 w 1247775"/>
              <a:gd name="connsiteY125" fmla="*/ 37624 h 1857375"/>
              <a:gd name="connsiteX126" fmla="*/ 536734 w 1247775"/>
              <a:gd name="connsiteY126" fmla="*/ 58579 h 1857375"/>
              <a:gd name="connsiteX127" fmla="*/ 557689 w 1247775"/>
              <a:gd name="connsiteY127" fmla="*/ 79534 h 1857375"/>
              <a:gd name="connsiteX128" fmla="*/ 571024 w 1247775"/>
              <a:gd name="connsiteY128" fmla="*/ 74771 h 1857375"/>
              <a:gd name="connsiteX129" fmla="*/ 570071 w 1247775"/>
              <a:gd name="connsiteY129" fmla="*/ 83344 h 1857375"/>
              <a:gd name="connsiteX130" fmla="*/ 582454 w 1247775"/>
              <a:gd name="connsiteY130" fmla="*/ 106204 h 1857375"/>
              <a:gd name="connsiteX131" fmla="*/ 577691 w 1247775"/>
              <a:gd name="connsiteY131" fmla="*/ 105251 h 1857375"/>
              <a:gd name="connsiteX132" fmla="*/ 559594 w 1247775"/>
              <a:gd name="connsiteY132" fmla="*/ 113824 h 1857375"/>
              <a:gd name="connsiteX133" fmla="*/ 541496 w 1247775"/>
              <a:gd name="connsiteY133" fmla="*/ 103346 h 1857375"/>
              <a:gd name="connsiteX134" fmla="*/ 519589 w 1247775"/>
              <a:gd name="connsiteY134" fmla="*/ 125254 h 1857375"/>
              <a:gd name="connsiteX135" fmla="*/ 541496 w 1247775"/>
              <a:gd name="connsiteY135" fmla="*/ 147161 h 1857375"/>
              <a:gd name="connsiteX136" fmla="*/ 556736 w 1247775"/>
              <a:gd name="connsiteY136" fmla="*/ 140494 h 1857375"/>
              <a:gd name="connsiteX137" fmla="*/ 578644 w 1247775"/>
              <a:gd name="connsiteY137" fmla="*/ 153829 h 1857375"/>
              <a:gd name="connsiteX138" fmla="*/ 581501 w 1247775"/>
              <a:gd name="connsiteY138" fmla="*/ 153829 h 1857375"/>
              <a:gd name="connsiteX139" fmla="*/ 576739 w 1247775"/>
              <a:gd name="connsiteY139" fmla="*/ 170974 h 1857375"/>
              <a:gd name="connsiteX140" fmla="*/ 577691 w 1247775"/>
              <a:gd name="connsiteY140" fmla="*/ 176689 h 1857375"/>
              <a:gd name="connsiteX141" fmla="*/ 557689 w 1247775"/>
              <a:gd name="connsiteY141" fmla="*/ 170974 h 1857375"/>
              <a:gd name="connsiteX142" fmla="*/ 526256 w 1247775"/>
              <a:gd name="connsiteY142" fmla="*/ 186214 h 1857375"/>
              <a:gd name="connsiteX143" fmla="*/ 512921 w 1247775"/>
              <a:gd name="connsiteY143" fmla="*/ 177641 h 1857375"/>
              <a:gd name="connsiteX144" fmla="*/ 497681 w 1247775"/>
              <a:gd name="connsiteY144" fmla="*/ 192881 h 1857375"/>
              <a:gd name="connsiteX145" fmla="*/ 512921 w 1247775"/>
              <a:gd name="connsiteY145" fmla="*/ 208121 h 1857375"/>
              <a:gd name="connsiteX146" fmla="*/ 518636 w 1247775"/>
              <a:gd name="connsiteY146" fmla="*/ 207169 h 1857375"/>
              <a:gd name="connsiteX147" fmla="*/ 518636 w 1247775"/>
              <a:gd name="connsiteY147" fmla="*/ 210026 h 1857375"/>
              <a:gd name="connsiteX148" fmla="*/ 532924 w 1247775"/>
              <a:gd name="connsiteY148" fmla="*/ 239554 h 1857375"/>
              <a:gd name="connsiteX149" fmla="*/ 530066 w 1247775"/>
              <a:gd name="connsiteY149" fmla="*/ 249079 h 1857375"/>
              <a:gd name="connsiteX150" fmla="*/ 530066 w 1247775"/>
              <a:gd name="connsiteY150" fmla="*/ 250984 h 1857375"/>
              <a:gd name="connsiteX151" fmla="*/ 514826 w 1247775"/>
              <a:gd name="connsiteY151" fmla="*/ 270034 h 1857375"/>
              <a:gd name="connsiteX152" fmla="*/ 503396 w 1247775"/>
              <a:gd name="connsiteY152" fmla="*/ 291941 h 1857375"/>
              <a:gd name="connsiteX153" fmla="*/ 531019 w 1247775"/>
              <a:gd name="connsiteY153" fmla="*/ 319564 h 1857375"/>
              <a:gd name="connsiteX154" fmla="*/ 540544 w 1247775"/>
              <a:gd name="connsiteY154" fmla="*/ 317659 h 1857375"/>
              <a:gd name="connsiteX155" fmla="*/ 549116 w 1247775"/>
              <a:gd name="connsiteY155" fmla="*/ 318611 h 1857375"/>
              <a:gd name="connsiteX156" fmla="*/ 582454 w 1247775"/>
              <a:gd name="connsiteY156" fmla="*/ 295751 h 1857375"/>
              <a:gd name="connsiteX157" fmla="*/ 584359 w 1247775"/>
              <a:gd name="connsiteY157" fmla="*/ 294799 h 1857375"/>
              <a:gd name="connsiteX158" fmla="*/ 585311 w 1247775"/>
              <a:gd name="connsiteY158" fmla="*/ 294799 h 1857375"/>
              <a:gd name="connsiteX159" fmla="*/ 596741 w 1247775"/>
              <a:gd name="connsiteY159" fmla="*/ 310991 h 1857375"/>
              <a:gd name="connsiteX160" fmla="*/ 596741 w 1247775"/>
              <a:gd name="connsiteY160" fmla="*/ 311944 h 1857375"/>
              <a:gd name="connsiteX161" fmla="*/ 596741 w 1247775"/>
              <a:gd name="connsiteY161" fmla="*/ 313849 h 1857375"/>
              <a:gd name="connsiteX162" fmla="*/ 595789 w 1247775"/>
              <a:gd name="connsiteY162" fmla="*/ 321469 h 1857375"/>
              <a:gd name="connsiteX163" fmla="*/ 603409 w 1247775"/>
              <a:gd name="connsiteY163" fmla="*/ 337661 h 1857375"/>
              <a:gd name="connsiteX164" fmla="*/ 603409 w 1247775"/>
              <a:gd name="connsiteY164" fmla="*/ 339566 h 1857375"/>
              <a:gd name="connsiteX165" fmla="*/ 614839 w 1247775"/>
              <a:gd name="connsiteY165" fmla="*/ 354806 h 1857375"/>
              <a:gd name="connsiteX166" fmla="*/ 611029 w 1247775"/>
              <a:gd name="connsiteY166" fmla="*/ 363379 h 1857375"/>
              <a:gd name="connsiteX167" fmla="*/ 586264 w 1247775"/>
              <a:gd name="connsiteY167" fmla="*/ 352901 h 1857375"/>
              <a:gd name="connsiteX168" fmla="*/ 551974 w 1247775"/>
              <a:gd name="connsiteY168" fmla="*/ 387191 h 1857375"/>
              <a:gd name="connsiteX169" fmla="*/ 552926 w 1247775"/>
              <a:gd name="connsiteY169" fmla="*/ 395764 h 1857375"/>
              <a:gd name="connsiteX170" fmla="*/ 541496 w 1247775"/>
              <a:gd name="connsiteY170" fmla="*/ 385286 h 1857375"/>
              <a:gd name="connsiteX171" fmla="*/ 527209 w 1247775"/>
              <a:gd name="connsiteY171" fmla="*/ 375761 h 1857375"/>
              <a:gd name="connsiteX172" fmla="*/ 511969 w 1247775"/>
              <a:gd name="connsiteY172" fmla="*/ 391001 h 1857375"/>
              <a:gd name="connsiteX173" fmla="*/ 511969 w 1247775"/>
              <a:gd name="connsiteY173" fmla="*/ 392906 h 1857375"/>
              <a:gd name="connsiteX174" fmla="*/ 506254 w 1247775"/>
              <a:gd name="connsiteY174" fmla="*/ 409099 h 1857375"/>
              <a:gd name="connsiteX175" fmla="*/ 511969 w 1247775"/>
              <a:gd name="connsiteY175" fmla="*/ 425291 h 1857375"/>
              <a:gd name="connsiteX176" fmla="*/ 511016 w 1247775"/>
              <a:gd name="connsiteY176" fmla="*/ 430054 h 1857375"/>
              <a:gd name="connsiteX177" fmla="*/ 524351 w 1247775"/>
              <a:gd name="connsiteY177" fmla="*/ 443389 h 1857375"/>
              <a:gd name="connsiteX178" fmla="*/ 537686 w 1247775"/>
              <a:gd name="connsiteY178" fmla="*/ 433864 h 1857375"/>
              <a:gd name="connsiteX179" fmla="*/ 537686 w 1247775"/>
              <a:gd name="connsiteY179" fmla="*/ 433864 h 1857375"/>
              <a:gd name="connsiteX180" fmla="*/ 539591 w 1247775"/>
              <a:gd name="connsiteY180" fmla="*/ 441484 h 1857375"/>
              <a:gd name="connsiteX181" fmla="*/ 531971 w 1247775"/>
              <a:gd name="connsiteY181" fmla="*/ 450056 h 1857375"/>
              <a:gd name="connsiteX182" fmla="*/ 540544 w 1247775"/>
              <a:gd name="connsiteY182" fmla="*/ 458629 h 1857375"/>
              <a:gd name="connsiteX183" fmla="*/ 549116 w 1247775"/>
              <a:gd name="connsiteY183" fmla="*/ 451009 h 1857375"/>
              <a:gd name="connsiteX184" fmla="*/ 557689 w 1247775"/>
              <a:gd name="connsiteY184" fmla="*/ 452914 h 1857375"/>
              <a:gd name="connsiteX185" fmla="*/ 563404 w 1247775"/>
              <a:gd name="connsiteY185" fmla="*/ 451961 h 1857375"/>
              <a:gd name="connsiteX186" fmla="*/ 565309 w 1247775"/>
              <a:gd name="connsiteY186" fmla="*/ 454819 h 1857375"/>
              <a:gd name="connsiteX187" fmla="*/ 560546 w 1247775"/>
              <a:gd name="connsiteY187" fmla="*/ 464344 h 1857375"/>
              <a:gd name="connsiteX188" fmla="*/ 560546 w 1247775"/>
              <a:gd name="connsiteY188" fmla="*/ 467201 h 1857375"/>
              <a:gd name="connsiteX189" fmla="*/ 551974 w 1247775"/>
              <a:gd name="connsiteY189" fmla="*/ 487204 h 1857375"/>
              <a:gd name="connsiteX190" fmla="*/ 551974 w 1247775"/>
              <a:gd name="connsiteY190" fmla="*/ 488156 h 1857375"/>
              <a:gd name="connsiteX191" fmla="*/ 548164 w 1247775"/>
              <a:gd name="connsiteY191" fmla="*/ 499586 h 1857375"/>
              <a:gd name="connsiteX192" fmla="*/ 566261 w 1247775"/>
              <a:gd name="connsiteY192" fmla="*/ 517684 h 1857375"/>
              <a:gd name="connsiteX193" fmla="*/ 573881 w 1247775"/>
              <a:gd name="connsiteY193" fmla="*/ 515779 h 1857375"/>
              <a:gd name="connsiteX194" fmla="*/ 571024 w 1247775"/>
              <a:gd name="connsiteY194" fmla="*/ 523399 h 1857375"/>
              <a:gd name="connsiteX195" fmla="*/ 574834 w 1247775"/>
              <a:gd name="connsiteY195" fmla="*/ 531971 h 1857375"/>
              <a:gd name="connsiteX196" fmla="*/ 574834 w 1247775"/>
              <a:gd name="connsiteY196" fmla="*/ 532924 h 1857375"/>
              <a:gd name="connsiteX197" fmla="*/ 586264 w 1247775"/>
              <a:gd name="connsiteY197" fmla="*/ 544354 h 1857375"/>
              <a:gd name="connsiteX198" fmla="*/ 596741 w 1247775"/>
              <a:gd name="connsiteY198" fmla="*/ 537686 h 1857375"/>
              <a:gd name="connsiteX199" fmla="*/ 598646 w 1247775"/>
              <a:gd name="connsiteY199" fmla="*/ 536734 h 1857375"/>
              <a:gd name="connsiteX200" fmla="*/ 611981 w 1247775"/>
              <a:gd name="connsiteY200" fmla="*/ 542449 h 1857375"/>
              <a:gd name="connsiteX201" fmla="*/ 631984 w 1247775"/>
              <a:gd name="connsiteY201" fmla="*/ 522446 h 1857375"/>
              <a:gd name="connsiteX202" fmla="*/ 643414 w 1247775"/>
              <a:gd name="connsiteY202" fmla="*/ 525304 h 1857375"/>
              <a:gd name="connsiteX203" fmla="*/ 632936 w 1247775"/>
              <a:gd name="connsiteY203" fmla="*/ 538639 h 1857375"/>
              <a:gd name="connsiteX204" fmla="*/ 633889 w 1247775"/>
              <a:gd name="connsiteY204" fmla="*/ 542449 h 1857375"/>
              <a:gd name="connsiteX205" fmla="*/ 626269 w 1247775"/>
              <a:gd name="connsiteY205" fmla="*/ 554831 h 1857375"/>
              <a:gd name="connsiteX206" fmla="*/ 626269 w 1247775"/>
              <a:gd name="connsiteY206" fmla="*/ 555784 h 1857375"/>
              <a:gd name="connsiteX207" fmla="*/ 614839 w 1247775"/>
              <a:gd name="connsiteY207" fmla="*/ 548164 h 1857375"/>
              <a:gd name="connsiteX208" fmla="*/ 602456 w 1247775"/>
              <a:gd name="connsiteY208" fmla="*/ 560546 h 1857375"/>
              <a:gd name="connsiteX209" fmla="*/ 614839 w 1247775"/>
              <a:gd name="connsiteY209" fmla="*/ 572929 h 1857375"/>
              <a:gd name="connsiteX210" fmla="*/ 627221 w 1247775"/>
              <a:gd name="connsiteY210" fmla="*/ 560546 h 1857375"/>
              <a:gd name="connsiteX211" fmla="*/ 627221 w 1247775"/>
              <a:gd name="connsiteY211" fmla="*/ 560546 h 1857375"/>
              <a:gd name="connsiteX212" fmla="*/ 631031 w 1247775"/>
              <a:gd name="connsiteY212" fmla="*/ 566261 h 1857375"/>
              <a:gd name="connsiteX213" fmla="*/ 628174 w 1247775"/>
              <a:gd name="connsiteY213" fmla="*/ 571024 h 1857375"/>
              <a:gd name="connsiteX214" fmla="*/ 633889 w 1247775"/>
              <a:gd name="connsiteY214" fmla="*/ 576739 h 1857375"/>
              <a:gd name="connsiteX215" fmla="*/ 639604 w 1247775"/>
              <a:gd name="connsiteY215" fmla="*/ 571024 h 1857375"/>
              <a:gd name="connsiteX216" fmla="*/ 639604 w 1247775"/>
              <a:gd name="connsiteY216" fmla="*/ 569119 h 1857375"/>
              <a:gd name="connsiteX217" fmla="*/ 640556 w 1247775"/>
              <a:gd name="connsiteY217" fmla="*/ 569119 h 1857375"/>
              <a:gd name="connsiteX218" fmla="*/ 646271 w 1247775"/>
              <a:gd name="connsiteY218" fmla="*/ 568166 h 1857375"/>
              <a:gd name="connsiteX219" fmla="*/ 648176 w 1247775"/>
              <a:gd name="connsiteY219" fmla="*/ 570071 h 1857375"/>
              <a:gd name="connsiteX220" fmla="*/ 647224 w 1247775"/>
              <a:gd name="connsiteY220" fmla="*/ 573881 h 1857375"/>
              <a:gd name="connsiteX221" fmla="*/ 650081 w 1247775"/>
              <a:gd name="connsiteY221" fmla="*/ 579596 h 1857375"/>
              <a:gd name="connsiteX222" fmla="*/ 642461 w 1247775"/>
              <a:gd name="connsiteY222" fmla="*/ 589121 h 1857375"/>
              <a:gd name="connsiteX223" fmla="*/ 648176 w 1247775"/>
              <a:gd name="connsiteY223" fmla="*/ 597694 h 1857375"/>
              <a:gd name="connsiteX224" fmla="*/ 656749 w 1247775"/>
              <a:gd name="connsiteY224" fmla="*/ 605314 h 1857375"/>
              <a:gd name="connsiteX225" fmla="*/ 656749 w 1247775"/>
              <a:gd name="connsiteY225" fmla="*/ 608171 h 1857375"/>
              <a:gd name="connsiteX226" fmla="*/ 647224 w 1247775"/>
              <a:gd name="connsiteY226" fmla="*/ 603409 h 1857375"/>
              <a:gd name="connsiteX227" fmla="*/ 635794 w 1247775"/>
              <a:gd name="connsiteY227" fmla="*/ 614839 h 1857375"/>
              <a:gd name="connsiteX228" fmla="*/ 636746 w 1247775"/>
              <a:gd name="connsiteY228" fmla="*/ 617696 h 1857375"/>
              <a:gd name="connsiteX229" fmla="*/ 634841 w 1247775"/>
              <a:gd name="connsiteY229" fmla="*/ 617696 h 1857375"/>
              <a:gd name="connsiteX230" fmla="*/ 614839 w 1247775"/>
              <a:gd name="connsiteY230" fmla="*/ 623411 h 1857375"/>
              <a:gd name="connsiteX231" fmla="*/ 613886 w 1247775"/>
              <a:gd name="connsiteY231" fmla="*/ 623411 h 1857375"/>
              <a:gd name="connsiteX232" fmla="*/ 609124 w 1247775"/>
              <a:gd name="connsiteY232" fmla="*/ 624364 h 1857375"/>
              <a:gd name="connsiteX233" fmla="*/ 609124 w 1247775"/>
              <a:gd name="connsiteY233" fmla="*/ 624364 h 1857375"/>
              <a:gd name="connsiteX234" fmla="*/ 596741 w 1247775"/>
              <a:gd name="connsiteY234" fmla="*/ 611981 h 1857375"/>
              <a:gd name="connsiteX235" fmla="*/ 587216 w 1247775"/>
              <a:gd name="connsiteY235" fmla="*/ 617696 h 1857375"/>
              <a:gd name="connsiteX236" fmla="*/ 564356 w 1247775"/>
              <a:gd name="connsiteY236" fmla="*/ 605314 h 1857375"/>
              <a:gd name="connsiteX237" fmla="*/ 542449 w 1247775"/>
              <a:gd name="connsiteY237" fmla="*/ 616744 h 1857375"/>
              <a:gd name="connsiteX238" fmla="*/ 540544 w 1247775"/>
              <a:gd name="connsiteY238" fmla="*/ 615791 h 1857375"/>
              <a:gd name="connsiteX239" fmla="*/ 536734 w 1247775"/>
              <a:gd name="connsiteY239" fmla="*/ 609124 h 1857375"/>
              <a:gd name="connsiteX240" fmla="*/ 556736 w 1247775"/>
              <a:gd name="connsiteY240" fmla="*/ 593884 h 1857375"/>
              <a:gd name="connsiteX241" fmla="*/ 563404 w 1247775"/>
              <a:gd name="connsiteY241" fmla="*/ 579596 h 1857375"/>
              <a:gd name="connsiteX242" fmla="*/ 563404 w 1247775"/>
              <a:gd name="connsiteY242" fmla="*/ 575786 h 1857375"/>
              <a:gd name="connsiteX243" fmla="*/ 564356 w 1247775"/>
              <a:gd name="connsiteY243" fmla="*/ 575786 h 1857375"/>
              <a:gd name="connsiteX244" fmla="*/ 572929 w 1247775"/>
              <a:gd name="connsiteY244" fmla="*/ 573881 h 1857375"/>
              <a:gd name="connsiteX245" fmla="*/ 569119 w 1247775"/>
              <a:gd name="connsiteY245" fmla="*/ 585311 h 1857375"/>
              <a:gd name="connsiteX246" fmla="*/ 591026 w 1247775"/>
              <a:gd name="connsiteY246" fmla="*/ 607219 h 1857375"/>
              <a:gd name="connsiteX247" fmla="*/ 612934 w 1247775"/>
              <a:gd name="connsiteY247" fmla="*/ 585311 h 1857375"/>
              <a:gd name="connsiteX248" fmla="*/ 591026 w 1247775"/>
              <a:gd name="connsiteY248" fmla="*/ 563404 h 1857375"/>
              <a:gd name="connsiteX249" fmla="*/ 579596 w 1247775"/>
              <a:gd name="connsiteY249" fmla="*/ 567214 h 1857375"/>
              <a:gd name="connsiteX250" fmla="*/ 581501 w 1247775"/>
              <a:gd name="connsiteY250" fmla="*/ 558641 h 1857375"/>
              <a:gd name="connsiteX251" fmla="*/ 564356 w 1247775"/>
              <a:gd name="connsiteY251" fmla="*/ 541496 h 1857375"/>
              <a:gd name="connsiteX252" fmla="*/ 547211 w 1247775"/>
              <a:gd name="connsiteY252" fmla="*/ 558641 h 1857375"/>
              <a:gd name="connsiteX253" fmla="*/ 547211 w 1247775"/>
              <a:gd name="connsiteY253" fmla="*/ 560546 h 1857375"/>
              <a:gd name="connsiteX254" fmla="*/ 543401 w 1247775"/>
              <a:gd name="connsiteY254" fmla="*/ 560546 h 1857375"/>
              <a:gd name="connsiteX255" fmla="*/ 528161 w 1247775"/>
              <a:gd name="connsiteY255" fmla="*/ 567214 h 1857375"/>
              <a:gd name="connsiteX256" fmla="*/ 526256 w 1247775"/>
              <a:gd name="connsiteY256" fmla="*/ 568166 h 1857375"/>
              <a:gd name="connsiteX257" fmla="*/ 526256 w 1247775"/>
              <a:gd name="connsiteY257" fmla="*/ 566261 h 1857375"/>
              <a:gd name="connsiteX258" fmla="*/ 508159 w 1247775"/>
              <a:gd name="connsiteY258" fmla="*/ 548164 h 1857375"/>
              <a:gd name="connsiteX259" fmla="*/ 490061 w 1247775"/>
              <a:gd name="connsiteY259" fmla="*/ 566261 h 1857375"/>
              <a:gd name="connsiteX260" fmla="*/ 508159 w 1247775"/>
              <a:gd name="connsiteY260" fmla="*/ 584359 h 1857375"/>
              <a:gd name="connsiteX261" fmla="*/ 513874 w 1247775"/>
              <a:gd name="connsiteY261" fmla="*/ 583406 h 1857375"/>
              <a:gd name="connsiteX262" fmla="*/ 512921 w 1247775"/>
              <a:gd name="connsiteY262" fmla="*/ 588169 h 1857375"/>
              <a:gd name="connsiteX263" fmla="*/ 515779 w 1247775"/>
              <a:gd name="connsiteY263" fmla="*/ 599599 h 1857375"/>
              <a:gd name="connsiteX264" fmla="*/ 511969 w 1247775"/>
              <a:gd name="connsiteY264" fmla="*/ 599599 h 1857375"/>
              <a:gd name="connsiteX265" fmla="*/ 506254 w 1247775"/>
              <a:gd name="connsiteY265" fmla="*/ 600551 h 1857375"/>
              <a:gd name="connsiteX266" fmla="*/ 497681 w 1247775"/>
              <a:gd name="connsiteY266" fmla="*/ 594836 h 1857375"/>
              <a:gd name="connsiteX267" fmla="*/ 489109 w 1247775"/>
              <a:gd name="connsiteY267" fmla="*/ 602456 h 1857375"/>
              <a:gd name="connsiteX268" fmla="*/ 487204 w 1247775"/>
              <a:gd name="connsiteY268" fmla="*/ 603409 h 1857375"/>
              <a:gd name="connsiteX269" fmla="*/ 475774 w 1247775"/>
              <a:gd name="connsiteY269" fmla="*/ 599599 h 1857375"/>
              <a:gd name="connsiteX270" fmla="*/ 454819 w 1247775"/>
              <a:gd name="connsiteY270" fmla="*/ 620554 h 1857375"/>
              <a:gd name="connsiteX271" fmla="*/ 455771 w 1247775"/>
              <a:gd name="connsiteY271" fmla="*/ 625316 h 1857375"/>
              <a:gd name="connsiteX272" fmla="*/ 450056 w 1247775"/>
              <a:gd name="connsiteY272" fmla="*/ 633889 h 1857375"/>
              <a:gd name="connsiteX273" fmla="*/ 459581 w 1247775"/>
              <a:gd name="connsiteY273" fmla="*/ 643414 h 1857375"/>
              <a:gd name="connsiteX274" fmla="*/ 484346 w 1247775"/>
              <a:gd name="connsiteY274" fmla="*/ 668179 h 1857375"/>
              <a:gd name="connsiteX275" fmla="*/ 498634 w 1247775"/>
              <a:gd name="connsiteY275" fmla="*/ 663416 h 1857375"/>
              <a:gd name="connsiteX276" fmla="*/ 503396 w 1247775"/>
              <a:gd name="connsiteY276" fmla="*/ 662464 h 1857375"/>
              <a:gd name="connsiteX277" fmla="*/ 511016 w 1247775"/>
              <a:gd name="connsiteY277" fmla="*/ 664369 h 1857375"/>
              <a:gd name="connsiteX278" fmla="*/ 511969 w 1247775"/>
              <a:gd name="connsiteY278" fmla="*/ 667226 h 1857375"/>
              <a:gd name="connsiteX279" fmla="*/ 511969 w 1247775"/>
              <a:gd name="connsiteY279" fmla="*/ 668179 h 1857375"/>
              <a:gd name="connsiteX280" fmla="*/ 513874 w 1247775"/>
              <a:gd name="connsiteY280" fmla="*/ 677704 h 1857375"/>
              <a:gd name="connsiteX281" fmla="*/ 511969 w 1247775"/>
              <a:gd name="connsiteY281" fmla="*/ 678656 h 1857375"/>
              <a:gd name="connsiteX282" fmla="*/ 498634 w 1247775"/>
              <a:gd name="connsiteY282" fmla="*/ 671036 h 1857375"/>
              <a:gd name="connsiteX283" fmla="*/ 487204 w 1247775"/>
              <a:gd name="connsiteY283" fmla="*/ 675799 h 1857375"/>
              <a:gd name="connsiteX284" fmla="*/ 481489 w 1247775"/>
              <a:gd name="connsiteY284" fmla="*/ 673894 h 1857375"/>
              <a:gd name="connsiteX285" fmla="*/ 470059 w 1247775"/>
              <a:gd name="connsiteY285" fmla="*/ 685324 h 1857375"/>
              <a:gd name="connsiteX286" fmla="*/ 481489 w 1247775"/>
              <a:gd name="connsiteY286" fmla="*/ 696754 h 1857375"/>
              <a:gd name="connsiteX287" fmla="*/ 484346 w 1247775"/>
              <a:gd name="connsiteY287" fmla="*/ 695801 h 1857375"/>
              <a:gd name="connsiteX288" fmla="*/ 488156 w 1247775"/>
              <a:gd name="connsiteY288" fmla="*/ 700564 h 1857375"/>
              <a:gd name="connsiteX289" fmla="*/ 486251 w 1247775"/>
              <a:gd name="connsiteY289" fmla="*/ 712946 h 1857375"/>
              <a:gd name="connsiteX290" fmla="*/ 486251 w 1247775"/>
              <a:gd name="connsiteY290" fmla="*/ 715804 h 1857375"/>
              <a:gd name="connsiteX291" fmla="*/ 460534 w 1247775"/>
              <a:gd name="connsiteY291" fmla="*/ 701516 h 1857375"/>
              <a:gd name="connsiteX292" fmla="*/ 435769 w 1247775"/>
              <a:gd name="connsiteY292" fmla="*/ 714851 h 1857375"/>
              <a:gd name="connsiteX293" fmla="*/ 426244 w 1247775"/>
              <a:gd name="connsiteY293" fmla="*/ 711041 h 1857375"/>
              <a:gd name="connsiteX294" fmla="*/ 432911 w 1247775"/>
              <a:gd name="connsiteY294" fmla="*/ 701516 h 1857375"/>
              <a:gd name="connsiteX295" fmla="*/ 437674 w 1247775"/>
              <a:gd name="connsiteY295" fmla="*/ 691039 h 1857375"/>
              <a:gd name="connsiteX296" fmla="*/ 431006 w 1247775"/>
              <a:gd name="connsiteY296" fmla="*/ 679609 h 1857375"/>
              <a:gd name="connsiteX297" fmla="*/ 410051 w 1247775"/>
              <a:gd name="connsiteY297" fmla="*/ 668179 h 1857375"/>
              <a:gd name="connsiteX298" fmla="*/ 404336 w 1247775"/>
              <a:gd name="connsiteY298" fmla="*/ 669131 h 1857375"/>
              <a:gd name="connsiteX299" fmla="*/ 401479 w 1247775"/>
              <a:gd name="connsiteY299" fmla="*/ 661511 h 1857375"/>
              <a:gd name="connsiteX300" fmla="*/ 409099 w 1247775"/>
              <a:gd name="connsiteY300" fmla="*/ 650081 h 1857375"/>
              <a:gd name="connsiteX301" fmla="*/ 410051 w 1247775"/>
              <a:gd name="connsiteY301" fmla="*/ 647224 h 1857375"/>
              <a:gd name="connsiteX302" fmla="*/ 410051 w 1247775"/>
              <a:gd name="connsiteY302" fmla="*/ 647224 h 1857375"/>
              <a:gd name="connsiteX303" fmla="*/ 411956 w 1247775"/>
              <a:gd name="connsiteY303" fmla="*/ 634841 h 1857375"/>
              <a:gd name="connsiteX304" fmla="*/ 370046 w 1247775"/>
              <a:gd name="connsiteY304" fmla="*/ 592931 h 1857375"/>
              <a:gd name="connsiteX305" fmla="*/ 360521 w 1247775"/>
              <a:gd name="connsiteY305" fmla="*/ 593884 h 1857375"/>
              <a:gd name="connsiteX306" fmla="*/ 362426 w 1247775"/>
              <a:gd name="connsiteY306" fmla="*/ 588169 h 1857375"/>
              <a:gd name="connsiteX307" fmla="*/ 350996 w 1247775"/>
              <a:gd name="connsiteY307" fmla="*/ 576739 h 1857375"/>
              <a:gd name="connsiteX308" fmla="*/ 342424 w 1247775"/>
              <a:gd name="connsiteY308" fmla="*/ 580549 h 1857375"/>
              <a:gd name="connsiteX309" fmla="*/ 335756 w 1247775"/>
              <a:gd name="connsiteY309" fmla="*/ 578644 h 1857375"/>
              <a:gd name="connsiteX310" fmla="*/ 324326 w 1247775"/>
              <a:gd name="connsiteY310" fmla="*/ 590074 h 1857375"/>
              <a:gd name="connsiteX311" fmla="*/ 335756 w 1247775"/>
              <a:gd name="connsiteY311" fmla="*/ 601504 h 1857375"/>
              <a:gd name="connsiteX312" fmla="*/ 344329 w 1247775"/>
              <a:gd name="connsiteY312" fmla="*/ 597694 h 1857375"/>
              <a:gd name="connsiteX313" fmla="*/ 348139 w 1247775"/>
              <a:gd name="connsiteY313" fmla="*/ 599599 h 1857375"/>
              <a:gd name="connsiteX314" fmla="*/ 324326 w 1247775"/>
              <a:gd name="connsiteY314" fmla="*/ 625316 h 1857375"/>
              <a:gd name="connsiteX315" fmla="*/ 324326 w 1247775"/>
              <a:gd name="connsiteY315" fmla="*/ 627221 h 1857375"/>
              <a:gd name="connsiteX316" fmla="*/ 316706 w 1247775"/>
              <a:gd name="connsiteY316" fmla="*/ 633889 h 1857375"/>
              <a:gd name="connsiteX317" fmla="*/ 316706 w 1247775"/>
              <a:gd name="connsiteY317" fmla="*/ 633889 h 1857375"/>
              <a:gd name="connsiteX318" fmla="*/ 316706 w 1247775"/>
              <a:gd name="connsiteY318" fmla="*/ 631031 h 1857375"/>
              <a:gd name="connsiteX319" fmla="*/ 310039 w 1247775"/>
              <a:gd name="connsiteY319" fmla="*/ 616744 h 1857375"/>
              <a:gd name="connsiteX320" fmla="*/ 294799 w 1247775"/>
              <a:gd name="connsiteY320" fmla="*/ 602456 h 1857375"/>
              <a:gd name="connsiteX321" fmla="*/ 279559 w 1247775"/>
              <a:gd name="connsiteY321" fmla="*/ 617696 h 1857375"/>
              <a:gd name="connsiteX322" fmla="*/ 280511 w 1247775"/>
              <a:gd name="connsiteY322" fmla="*/ 623411 h 1857375"/>
              <a:gd name="connsiteX323" fmla="*/ 278606 w 1247775"/>
              <a:gd name="connsiteY323" fmla="*/ 631031 h 1857375"/>
              <a:gd name="connsiteX324" fmla="*/ 297656 w 1247775"/>
              <a:gd name="connsiteY324" fmla="*/ 650081 h 1857375"/>
              <a:gd name="connsiteX325" fmla="*/ 310039 w 1247775"/>
              <a:gd name="connsiteY325" fmla="*/ 645319 h 1857375"/>
              <a:gd name="connsiteX326" fmla="*/ 310991 w 1247775"/>
              <a:gd name="connsiteY326" fmla="*/ 645319 h 1857375"/>
              <a:gd name="connsiteX327" fmla="*/ 310039 w 1247775"/>
              <a:gd name="connsiteY327" fmla="*/ 652939 h 1857375"/>
              <a:gd name="connsiteX328" fmla="*/ 312896 w 1247775"/>
              <a:gd name="connsiteY328" fmla="*/ 666274 h 1857375"/>
              <a:gd name="connsiteX329" fmla="*/ 308134 w 1247775"/>
              <a:gd name="connsiteY329" fmla="*/ 665321 h 1857375"/>
              <a:gd name="connsiteX330" fmla="*/ 304324 w 1247775"/>
              <a:gd name="connsiteY330" fmla="*/ 666274 h 1857375"/>
              <a:gd name="connsiteX331" fmla="*/ 304324 w 1247775"/>
              <a:gd name="connsiteY331" fmla="*/ 664369 h 1857375"/>
              <a:gd name="connsiteX332" fmla="*/ 290036 w 1247775"/>
              <a:gd name="connsiteY332" fmla="*/ 650081 h 1857375"/>
              <a:gd name="connsiteX333" fmla="*/ 275749 w 1247775"/>
              <a:gd name="connsiteY333" fmla="*/ 664369 h 1857375"/>
              <a:gd name="connsiteX334" fmla="*/ 290036 w 1247775"/>
              <a:gd name="connsiteY334" fmla="*/ 678656 h 1857375"/>
              <a:gd name="connsiteX335" fmla="*/ 289084 w 1247775"/>
              <a:gd name="connsiteY335" fmla="*/ 685324 h 1857375"/>
              <a:gd name="connsiteX336" fmla="*/ 309086 w 1247775"/>
              <a:gd name="connsiteY336" fmla="*/ 705326 h 1857375"/>
              <a:gd name="connsiteX337" fmla="*/ 329089 w 1247775"/>
              <a:gd name="connsiteY337" fmla="*/ 685324 h 1857375"/>
              <a:gd name="connsiteX338" fmla="*/ 328136 w 1247775"/>
              <a:gd name="connsiteY338" fmla="*/ 679609 h 1857375"/>
              <a:gd name="connsiteX339" fmla="*/ 337661 w 1247775"/>
              <a:gd name="connsiteY339" fmla="*/ 682466 h 1857375"/>
              <a:gd name="connsiteX340" fmla="*/ 342424 w 1247775"/>
              <a:gd name="connsiteY340" fmla="*/ 690086 h 1857375"/>
              <a:gd name="connsiteX341" fmla="*/ 345281 w 1247775"/>
              <a:gd name="connsiteY341" fmla="*/ 698659 h 1857375"/>
              <a:gd name="connsiteX342" fmla="*/ 344329 w 1247775"/>
              <a:gd name="connsiteY342" fmla="*/ 698659 h 1857375"/>
              <a:gd name="connsiteX343" fmla="*/ 329089 w 1247775"/>
              <a:gd name="connsiteY343" fmla="*/ 713899 h 1857375"/>
              <a:gd name="connsiteX344" fmla="*/ 329089 w 1247775"/>
              <a:gd name="connsiteY344" fmla="*/ 715804 h 1857375"/>
              <a:gd name="connsiteX345" fmla="*/ 327184 w 1247775"/>
              <a:gd name="connsiteY345" fmla="*/ 719614 h 1857375"/>
              <a:gd name="connsiteX346" fmla="*/ 316706 w 1247775"/>
              <a:gd name="connsiteY346" fmla="*/ 715804 h 1857375"/>
              <a:gd name="connsiteX347" fmla="*/ 300514 w 1247775"/>
              <a:gd name="connsiteY347" fmla="*/ 731996 h 1857375"/>
              <a:gd name="connsiteX348" fmla="*/ 316706 w 1247775"/>
              <a:gd name="connsiteY348" fmla="*/ 748189 h 1857375"/>
              <a:gd name="connsiteX349" fmla="*/ 328136 w 1247775"/>
              <a:gd name="connsiteY349" fmla="*/ 743426 h 1857375"/>
              <a:gd name="connsiteX350" fmla="*/ 333851 w 1247775"/>
              <a:gd name="connsiteY350" fmla="*/ 750094 h 1857375"/>
              <a:gd name="connsiteX351" fmla="*/ 333851 w 1247775"/>
              <a:gd name="connsiteY351" fmla="*/ 750094 h 1857375"/>
              <a:gd name="connsiteX352" fmla="*/ 324326 w 1247775"/>
              <a:gd name="connsiteY352" fmla="*/ 759619 h 1857375"/>
              <a:gd name="connsiteX353" fmla="*/ 333851 w 1247775"/>
              <a:gd name="connsiteY353" fmla="*/ 769144 h 1857375"/>
              <a:gd name="connsiteX354" fmla="*/ 341471 w 1247775"/>
              <a:gd name="connsiteY354" fmla="*/ 765334 h 1857375"/>
              <a:gd name="connsiteX355" fmla="*/ 339566 w 1247775"/>
              <a:gd name="connsiteY355" fmla="*/ 774859 h 1857375"/>
              <a:gd name="connsiteX356" fmla="*/ 342424 w 1247775"/>
              <a:gd name="connsiteY356" fmla="*/ 788194 h 1857375"/>
              <a:gd name="connsiteX357" fmla="*/ 332899 w 1247775"/>
              <a:gd name="connsiteY357" fmla="*/ 794861 h 1857375"/>
              <a:gd name="connsiteX358" fmla="*/ 332899 w 1247775"/>
              <a:gd name="connsiteY358" fmla="*/ 792956 h 1857375"/>
              <a:gd name="connsiteX359" fmla="*/ 313849 w 1247775"/>
              <a:gd name="connsiteY359" fmla="*/ 772954 h 1857375"/>
              <a:gd name="connsiteX360" fmla="*/ 309086 w 1247775"/>
              <a:gd name="connsiteY360" fmla="*/ 772001 h 1857375"/>
              <a:gd name="connsiteX361" fmla="*/ 299561 w 1247775"/>
              <a:gd name="connsiteY361" fmla="*/ 777716 h 1857375"/>
              <a:gd name="connsiteX362" fmla="*/ 292894 w 1247775"/>
              <a:gd name="connsiteY362" fmla="*/ 792956 h 1857375"/>
              <a:gd name="connsiteX363" fmla="*/ 312896 w 1247775"/>
              <a:gd name="connsiteY363" fmla="*/ 812959 h 1857375"/>
              <a:gd name="connsiteX364" fmla="*/ 328136 w 1247775"/>
              <a:gd name="connsiteY364" fmla="*/ 806291 h 1857375"/>
              <a:gd name="connsiteX365" fmla="*/ 328136 w 1247775"/>
              <a:gd name="connsiteY365" fmla="*/ 808196 h 1857375"/>
              <a:gd name="connsiteX366" fmla="*/ 331946 w 1247775"/>
              <a:gd name="connsiteY366" fmla="*/ 820579 h 1857375"/>
              <a:gd name="connsiteX367" fmla="*/ 314801 w 1247775"/>
              <a:gd name="connsiteY367" fmla="*/ 844391 h 1857375"/>
              <a:gd name="connsiteX368" fmla="*/ 340519 w 1247775"/>
              <a:gd name="connsiteY368" fmla="*/ 870109 h 1857375"/>
              <a:gd name="connsiteX369" fmla="*/ 351949 w 1247775"/>
              <a:gd name="connsiteY369" fmla="*/ 867251 h 1857375"/>
              <a:gd name="connsiteX370" fmla="*/ 353854 w 1247775"/>
              <a:gd name="connsiteY370" fmla="*/ 867251 h 1857375"/>
              <a:gd name="connsiteX371" fmla="*/ 352901 w 1247775"/>
              <a:gd name="connsiteY371" fmla="*/ 871061 h 1857375"/>
              <a:gd name="connsiteX372" fmla="*/ 367189 w 1247775"/>
              <a:gd name="connsiteY372" fmla="*/ 885349 h 1857375"/>
              <a:gd name="connsiteX373" fmla="*/ 368141 w 1247775"/>
              <a:gd name="connsiteY373" fmla="*/ 885349 h 1857375"/>
              <a:gd name="connsiteX374" fmla="*/ 371951 w 1247775"/>
              <a:gd name="connsiteY374" fmla="*/ 890111 h 1857375"/>
              <a:gd name="connsiteX375" fmla="*/ 372904 w 1247775"/>
              <a:gd name="connsiteY375" fmla="*/ 892016 h 1857375"/>
              <a:gd name="connsiteX376" fmla="*/ 367189 w 1247775"/>
              <a:gd name="connsiteY376" fmla="*/ 890111 h 1857375"/>
              <a:gd name="connsiteX377" fmla="*/ 358616 w 1247775"/>
              <a:gd name="connsiteY377" fmla="*/ 898684 h 1857375"/>
              <a:gd name="connsiteX378" fmla="*/ 367189 w 1247775"/>
              <a:gd name="connsiteY378" fmla="*/ 907256 h 1857375"/>
              <a:gd name="connsiteX379" fmla="*/ 375761 w 1247775"/>
              <a:gd name="connsiteY379" fmla="*/ 898684 h 1857375"/>
              <a:gd name="connsiteX380" fmla="*/ 373856 w 1247775"/>
              <a:gd name="connsiteY380" fmla="*/ 892969 h 1857375"/>
              <a:gd name="connsiteX381" fmla="*/ 386239 w 1247775"/>
              <a:gd name="connsiteY381" fmla="*/ 899636 h 1857375"/>
              <a:gd name="connsiteX382" fmla="*/ 386239 w 1247775"/>
              <a:gd name="connsiteY382" fmla="*/ 899636 h 1857375"/>
              <a:gd name="connsiteX383" fmla="*/ 417671 w 1247775"/>
              <a:gd name="connsiteY383" fmla="*/ 920591 h 1857375"/>
              <a:gd name="connsiteX384" fmla="*/ 417671 w 1247775"/>
              <a:gd name="connsiteY384" fmla="*/ 920591 h 1857375"/>
              <a:gd name="connsiteX385" fmla="*/ 425291 w 1247775"/>
              <a:gd name="connsiteY385" fmla="*/ 926306 h 1857375"/>
              <a:gd name="connsiteX386" fmla="*/ 431006 w 1247775"/>
              <a:gd name="connsiteY386" fmla="*/ 923449 h 1857375"/>
              <a:gd name="connsiteX387" fmla="*/ 435769 w 1247775"/>
              <a:gd name="connsiteY387" fmla="*/ 924401 h 1857375"/>
              <a:gd name="connsiteX388" fmla="*/ 447199 w 1247775"/>
              <a:gd name="connsiteY388" fmla="*/ 916781 h 1857375"/>
              <a:gd name="connsiteX389" fmla="*/ 450056 w 1247775"/>
              <a:gd name="connsiteY389" fmla="*/ 917734 h 1857375"/>
              <a:gd name="connsiteX390" fmla="*/ 449104 w 1247775"/>
              <a:gd name="connsiteY390" fmla="*/ 922496 h 1857375"/>
              <a:gd name="connsiteX391" fmla="*/ 454819 w 1247775"/>
              <a:gd name="connsiteY391" fmla="*/ 935831 h 1857375"/>
              <a:gd name="connsiteX392" fmla="*/ 454819 w 1247775"/>
              <a:gd name="connsiteY392" fmla="*/ 935831 h 1857375"/>
              <a:gd name="connsiteX393" fmla="*/ 449104 w 1247775"/>
              <a:gd name="connsiteY393" fmla="*/ 936784 h 1857375"/>
              <a:gd name="connsiteX394" fmla="*/ 438626 w 1247775"/>
              <a:gd name="connsiteY394" fmla="*/ 934879 h 1857375"/>
              <a:gd name="connsiteX395" fmla="*/ 415766 w 1247775"/>
              <a:gd name="connsiteY395" fmla="*/ 942499 h 1857375"/>
              <a:gd name="connsiteX396" fmla="*/ 415766 w 1247775"/>
              <a:gd name="connsiteY396" fmla="*/ 939641 h 1857375"/>
              <a:gd name="connsiteX397" fmla="*/ 401479 w 1247775"/>
              <a:gd name="connsiteY397" fmla="*/ 925354 h 1857375"/>
              <a:gd name="connsiteX398" fmla="*/ 387191 w 1247775"/>
              <a:gd name="connsiteY398" fmla="*/ 939641 h 1857375"/>
              <a:gd name="connsiteX399" fmla="*/ 401479 w 1247775"/>
              <a:gd name="connsiteY399" fmla="*/ 953929 h 1857375"/>
              <a:gd name="connsiteX400" fmla="*/ 405289 w 1247775"/>
              <a:gd name="connsiteY400" fmla="*/ 953929 h 1857375"/>
              <a:gd name="connsiteX401" fmla="*/ 399574 w 1247775"/>
              <a:gd name="connsiteY401" fmla="*/ 973931 h 1857375"/>
              <a:gd name="connsiteX402" fmla="*/ 392906 w 1247775"/>
              <a:gd name="connsiteY402" fmla="*/ 972979 h 1857375"/>
              <a:gd name="connsiteX403" fmla="*/ 359569 w 1247775"/>
              <a:gd name="connsiteY403" fmla="*/ 1006316 h 1857375"/>
              <a:gd name="connsiteX404" fmla="*/ 392906 w 1247775"/>
              <a:gd name="connsiteY404" fmla="*/ 1039654 h 1857375"/>
              <a:gd name="connsiteX405" fmla="*/ 404336 w 1247775"/>
              <a:gd name="connsiteY405" fmla="*/ 1037749 h 1857375"/>
              <a:gd name="connsiteX406" fmla="*/ 409099 w 1247775"/>
              <a:gd name="connsiteY406" fmla="*/ 1038701 h 1857375"/>
              <a:gd name="connsiteX407" fmla="*/ 418624 w 1247775"/>
              <a:gd name="connsiteY407" fmla="*/ 1029176 h 1857375"/>
              <a:gd name="connsiteX408" fmla="*/ 418624 w 1247775"/>
              <a:gd name="connsiteY408" fmla="*/ 1028224 h 1857375"/>
              <a:gd name="connsiteX409" fmla="*/ 421481 w 1247775"/>
              <a:gd name="connsiteY409" fmla="*/ 1024414 h 1857375"/>
              <a:gd name="connsiteX410" fmla="*/ 424339 w 1247775"/>
              <a:gd name="connsiteY410" fmla="*/ 1026319 h 1857375"/>
              <a:gd name="connsiteX411" fmla="*/ 432911 w 1247775"/>
              <a:gd name="connsiteY411" fmla="*/ 1035844 h 1857375"/>
              <a:gd name="connsiteX412" fmla="*/ 429101 w 1247775"/>
              <a:gd name="connsiteY412" fmla="*/ 1042511 h 1857375"/>
              <a:gd name="connsiteX413" fmla="*/ 436721 w 1247775"/>
              <a:gd name="connsiteY413" fmla="*/ 1050131 h 1857375"/>
              <a:gd name="connsiteX414" fmla="*/ 444341 w 1247775"/>
              <a:gd name="connsiteY414" fmla="*/ 1042511 h 1857375"/>
              <a:gd name="connsiteX415" fmla="*/ 442436 w 1247775"/>
              <a:gd name="connsiteY415" fmla="*/ 1037749 h 1857375"/>
              <a:gd name="connsiteX416" fmla="*/ 447199 w 1247775"/>
              <a:gd name="connsiteY416" fmla="*/ 1036796 h 1857375"/>
              <a:gd name="connsiteX417" fmla="*/ 452914 w 1247775"/>
              <a:gd name="connsiteY417" fmla="*/ 1042511 h 1857375"/>
              <a:gd name="connsiteX418" fmla="*/ 447199 w 1247775"/>
              <a:gd name="connsiteY418" fmla="*/ 1048226 h 1857375"/>
              <a:gd name="connsiteX419" fmla="*/ 447199 w 1247775"/>
              <a:gd name="connsiteY419" fmla="*/ 1048226 h 1857375"/>
              <a:gd name="connsiteX420" fmla="*/ 424339 w 1247775"/>
              <a:gd name="connsiteY420" fmla="*/ 1071086 h 1857375"/>
              <a:gd name="connsiteX421" fmla="*/ 425291 w 1247775"/>
              <a:gd name="connsiteY421" fmla="*/ 1076801 h 1857375"/>
              <a:gd name="connsiteX422" fmla="*/ 412909 w 1247775"/>
              <a:gd name="connsiteY422" fmla="*/ 1072991 h 1857375"/>
              <a:gd name="connsiteX423" fmla="*/ 389096 w 1247775"/>
              <a:gd name="connsiteY423" fmla="*/ 1096804 h 1857375"/>
              <a:gd name="connsiteX424" fmla="*/ 389096 w 1247775"/>
              <a:gd name="connsiteY424" fmla="*/ 1098709 h 1857375"/>
              <a:gd name="connsiteX425" fmla="*/ 389096 w 1247775"/>
              <a:gd name="connsiteY425" fmla="*/ 1098709 h 1857375"/>
              <a:gd name="connsiteX426" fmla="*/ 377666 w 1247775"/>
              <a:gd name="connsiteY426" fmla="*/ 1091089 h 1857375"/>
              <a:gd name="connsiteX427" fmla="*/ 371951 w 1247775"/>
              <a:gd name="connsiteY427" fmla="*/ 1092994 h 1857375"/>
              <a:gd name="connsiteX428" fmla="*/ 374809 w 1247775"/>
              <a:gd name="connsiteY428" fmla="*/ 1082516 h 1857375"/>
              <a:gd name="connsiteX429" fmla="*/ 371951 w 1247775"/>
              <a:gd name="connsiteY429" fmla="*/ 1072039 h 1857375"/>
              <a:gd name="connsiteX430" fmla="*/ 375761 w 1247775"/>
              <a:gd name="connsiteY430" fmla="*/ 1072991 h 1857375"/>
              <a:gd name="connsiteX431" fmla="*/ 388144 w 1247775"/>
              <a:gd name="connsiteY431" fmla="*/ 1060609 h 1857375"/>
              <a:gd name="connsiteX432" fmla="*/ 388144 w 1247775"/>
              <a:gd name="connsiteY432" fmla="*/ 1060609 h 1857375"/>
              <a:gd name="connsiteX433" fmla="*/ 390049 w 1247775"/>
              <a:gd name="connsiteY433" fmla="*/ 1054894 h 1857375"/>
              <a:gd name="connsiteX434" fmla="*/ 381476 w 1247775"/>
              <a:gd name="connsiteY434" fmla="*/ 1046321 h 1857375"/>
              <a:gd name="connsiteX435" fmla="*/ 375761 w 1247775"/>
              <a:gd name="connsiteY435" fmla="*/ 1048226 h 1857375"/>
              <a:gd name="connsiteX436" fmla="*/ 374809 w 1247775"/>
              <a:gd name="connsiteY436" fmla="*/ 1048226 h 1857375"/>
              <a:gd name="connsiteX437" fmla="*/ 362426 w 1247775"/>
              <a:gd name="connsiteY437" fmla="*/ 1060609 h 1857375"/>
              <a:gd name="connsiteX438" fmla="*/ 363379 w 1247775"/>
              <a:gd name="connsiteY438" fmla="*/ 1065371 h 1857375"/>
              <a:gd name="connsiteX439" fmla="*/ 353854 w 1247775"/>
              <a:gd name="connsiteY439" fmla="*/ 1062514 h 1857375"/>
              <a:gd name="connsiteX440" fmla="*/ 333851 w 1247775"/>
              <a:gd name="connsiteY440" fmla="*/ 1082516 h 1857375"/>
              <a:gd name="connsiteX441" fmla="*/ 338614 w 1247775"/>
              <a:gd name="connsiteY441" fmla="*/ 1094899 h 1857375"/>
              <a:gd name="connsiteX442" fmla="*/ 336709 w 1247775"/>
              <a:gd name="connsiteY442" fmla="*/ 1094899 h 1857375"/>
              <a:gd name="connsiteX443" fmla="*/ 327184 w 1247775"/>
              <a:gd name="connsiteY443" fmla="*/ 1104424 h 1857375"/>
              <a:gd name="connsiteX444" fmla="*/ 328136 w 1247775"/>
              <a:gd name="connsiteY444" fmla="*/ 1107281 h 1857375"/>
              <a:gd name="connsiteX445" fmla="*/ 324326 w 1247775"/>
              <a:gd name="connsiteY445" fmla="*/ 1108234 h 1857375"/>
              <a:gd name="connsiteX446" fmla="*/ 324326 w 1247775"/>
              <a:gd name="connsiteY446" fmla="*/ 1108234 h 1857375"/>
              <a:gd name="connsiteX447" fmla="*/ 323374 w 1247775"/>
              <a:gd name="connsiteY447" fmla="*/ 1108234 h 1857375"/>
              <a:gd name="connsiteX448" fmla="*/ 326231 w 1247775"/>
              <a:gd name="connsiteY448" fmla="*/ 1100614 h 1857375"/>
              <a:gd name="connsiteX449" fmla="*/ 311944 w 1247775"/>
              <a:gd name="connsiteY449" fmla="*/ 1086326 h 1857375"/>
              <a:gd name="connsiteX450" fmla="*/ 307181 w 1247775"/>
              <a:gd name="connsiteY450" fmla="*/ 1087279 h 1857375"/>
              <a:gd name="connsiteX451" fmla="*/ 310991 w 1247775"/>
              <a:gd name="connsiteY451" fmla="*/ 1080611 h 1857375"/>
              <a:gd name="connsiteX452" fmla="*/ 312896 w 1247775"/>
              <a:gd name="connsiteY452" fmla="*/ 1080611 h 1857375"/>
              <a:gd name="connsiteX453" fmla="*/ 343376 w 1247775"/>
              <a:gd name="connsiteY453" fmla="*/ 1050131 h 1857375"/>
              <a:gd name="connsiteX454" fmla="*/ 342424 w 1247775"/>
              <a:gd name="connsiteY454" fmla="*/ 1044416 h 1857375"/>
              <a:gd name="connsiteX455" fmla="*/ 350996 w 1247775"/>
              <a:gd name="connsiteY455" fmla="*/ 1032034 h 1857375"/>
              <a:gd name="connsiteX456" fmla="*/ 337661 w 1247775"/>
              <a:gd name="connsiteY456" fmla="*/ 1018699 h 1857375"/>
              <a:gd name="connsiteX457" fmla="*/ 327184 w 1247775"/>
              <a:gd name="connsiteY457" fmla="*/ 1023461 h 1857375"/>
              <a:gd name="connsiteX458" fmla="*/ 322421 w 1247775"/>
              <a:gd name="connsiteY458" fmla="*/ 1021556 h 1857375"/>
              <a:gd name="connsiteX459" fmla="*/ 322421 w 1247775"/>
              <a:gd name="connsiteY459" fmla="*/ 1020604 h 1857375"/>
              <a:gd name="connsiteX460" fmla="*/ 330041 w 1247775"/>
              <a:gd name="connsiteY460" fmla="*/ 1005364 h 1857375"/>
              <a:gd name="connsiteX461" fmla="*/ 312896 w 1247775"/>
              <a:gd name="connsiteY461" fmla="*/ 987266 h 1857375"/>
              <a:gd name="connsiteX462" fmla="*/ 317659 w 1247775"/>
              <a:gd name="connsiteY462" fmla="*/ 978694 h 1857375"/>
              <a:gd name="connsiteX463" fmla="*/ 328136 w 1247775"/>
              <a:gd name="connsiteY463" fmla="*/ 971074 h 1857375"/>
              <a:gd name="connsiteX464" fmla="*/ 345281 w 1247775"/>
              <a:gd name="connsiteY464" fmla="*/ 976789 h 1857375"/>
              <a:gd name="connsiteX465" fmla="*/ 374809 w 1247775"/>
              <a:gd name="connsiteY465" fmla="*/ 947261 h 1857375"/>
              <a:gd name="connsiteX466" fmla="*/ 350996 w 1247775"/>
              <a:gd name="connsiteY466" fmla="*/ 918686 h 1857375"/>
              <a:gd name="connsiteX467" fmla="*/ 350044 w 1247775"/>
              <a:gd name="connsiteY467" fmla="*/ 915829 h 1857375"/>
              <a:gd name="connsiteX468" fmla="*/ 357664 w 1247775"/>
              <a:gd name="connsiteY468" fmla="*/ 903446 h 1857375"/>
              <a:gd name="connsiteX469" fmla="*/ 344329 w 1247775"/>
              <a:gd name="connsiteY469" fmla="*/ 890111 h 1857375"/>
              <a:gd name="connsiteX470" fmla="*/ 330994 w 1247775"/>
              <a:gd name="connsiteY470" fmla="*/ 903446 h 1857375"/>
              <a:gd name="connsiteX471" fmla="*/ 331946 w 1247775"/>
              <a:gd name="connsiteY471" fmla="*/ 908209 h 1857375"/>
              <a:gd name="connsiteX472" fmla="*/ 323374 w 1247775"/>
              <a:gd name="connsiteY472" fmla="*/ 918686 h 1857375"/>
              <a:gd name="connsiteX473" fmla="*/ 304324 w 1247775"/>
              <a:gd name="connsiteY473" fmla="*/ 912971 h 1857375"/>
              <a:gd name="connsiteX474" fmla="*/ 281464 w 1247775"/>
              <a:gd name="connsiteY474" fmla="*/ 921544 h 1857375"/>
              <a:gd name="connsiteX475" fmla="*/ 281464 w 1247775"/>
              <a:gd name="connsiteY475" fmla="*/ 920591 h 1857375"/>
              <a:gd name="connsiteX476" fmla="*/ 256699 w 1247775"/>
              <a:gd name="connsiteY476" fmla="*/ 895826 h 1857375"/>
              <a:gd name="connsiteX477" fmla="*/ 251936 w 1247775"/>
              <a:gd name="connsiteY477" fmla="*/ 896779 h 1857375"/>
              <a:gd name="connsiteX478" fmla="*/ 234791 w 1247775"/>
              <a:gd name="connsiteY478" fmla="*/ 872966 h 1857375"/>
              <a:gd name="connsiteX479" fmla="*/ 234791 w 1247775"/>
              <a:gd name="connsiteY479" fmla="*/ 872966 h 1857375"/>
              <a:gd name="connsiteX480" fmla="*/ 250984 w 1247775"/>
              <a:gd name="connsiteY480" fmla="*/ 856774 h 1857375"/>
              <a:gd name="connsiteX481" fmla="*/ 234791 w 1247775"/>
              <a:gd name="connsiteY481" fmla="*/ 840581 h 1857375"/>
              <a:gd name="connsiteX482" fmla="*/ 218599 w 1247775"/>
              <a:gd name="connsiteY482" fmla="*/ 856774 h 1857375"/>
              <a:gd name="connsiteX483" fmla="*/ 227171 w 1247775"/>
              <a:gd name="connsiteY483" fmla="*/ 871061 h 1857375"/>
              <a:gd name="connsiteX484" fmla="*/ 223361 w 1247775"/>
              <a:gd name="connsiteY484" fmla="*/ 871061 h 1857375"/>
              <a:gd name="connsiteX485" fmla="*/ 216694 w 1247775"/>
              <a:gd name="connsiteY485" fmla="*/ 872014 h 1857375"/>
              <a:gd name="connsiteX486" fmla="*/ 213836 w 1247775"/>
              <a:gd name="connsiteY486" fmla="*/ 870109 h 1857375"/>
              <a:gd name="connsiteX487" fmla="*/ 200501 w 1247775"/>
              <a:gd name="connsiteY487" fmla="*/ 859631 h 1857375"/>
              <a:gd name="connsiteX488" fmla="*/ 196691 w 1247775"/>
              <a:gd name="connsiteY488" fmla="*/ 860584 h 1857375"/>
              <a:gd name="connsiteX489" fmla="*/ 196691 w 1247775"/>
              <a:gd name="connsiteY489" fmla="*/ 860584 h 1857375"/>
              <a:gd name="connsiteX490" fmla="*/ 194786 w 1247775"/>
              <a:gd name="connsiteY490" fmla="*/ 849154 h 1857375"/>
              <a:gd name="connsiteX491" fmla="*/ 198596 w 1247775"/>
              <a:gd name="connsiteY491" fmla="*/ 842486 h 1857375"/>
              <a:gd name="connsiteX492" fmla="*/ 203359 w 1247775"/>
              <a:gd name="connsiteY492" fmla="*/ 827246 h 1857375"/>
              <a:gd name="connsiteX493" fmla="*/ 200501 w 1247775"/>
              <a:gd name="connsiteY493" fmla="*/ 815816 h 1857375"/>
              <a:gd name="connsiteX494" fmla="*/ 205264 w 1247775"/>
              <a:gd name="connsiteY494" fmla="*/ 816769 h 1857375"/>
              <a:gd name="connsiteX495" fmla="*/ 226219 w 1247775"/>
              <a:gd name="connsiteY495" fmla="*/ 795814 h 1857375"/>
              <a:gd name="connsiteX496" fmla="*/ 205264 w 1247775"/>
              <a:gd name="connsiteY496" fmla="*/ 774859 h 1857375"/>
              <a:gd name="connsiteX497" fmla="*/ 184309 w 1247775"/>
              <a:gd name="connsiteY497" fmla="*/ 795814 h 1857375"/>
              <a:gd name="connsiteX498" fmla="*/ 186214 w 1247775"/>
              <a:gd name="connsiteY498" fmla="*/ 803434 h 1857375"/>
              <a:gd name="connsiteX499" fmla="*/ 177641 w 1247775"/>
              <a:gd name="connsiteY499" fmla="*/ 802481 h 1857375"/>
              <a:gd name="connsiteX500" fmla="*/ 157639 w 1247775"/>
              <a:gd name="connsiteY500" fmla="*/ 812006 h 1857375"/>
              <a:gd name="connsiteX501" fmla="*/ 140494 w 1247775"/>
              <a:gd name="connsiteY501" fmla="*/ 802481 h 1857375"/>
              <a:gd name="connsiteX502" fmla="*/ 130969 w 1247775"/>
              <a:gd name="connsiteY502" fmla="*/ 804386 h 1857375"/>
              <a:gd name="connsiteX503" fmla="*/ 120491 w 1247775"/>
              <a:gd name="connsiteY503" fmla="*/ 794861 h 1857375"/>
              <a:gd name="connsiteX504" fmla="*/ 110966 w 1247775"/>
              <a:gd name="connsiteY504" fmla="*/ 800576 h 1857375"/>
              <a:gd name="connsiteX505" fmla="*/ 98584 w 1247775"/>
              <a:gd name="connsiteY505" fmla="*/ 818674 h 1857375"/>
              <a:gd name="connsiteX506" fmla="*/ 118586 w 1247775"/>
              <a:gd name="connsiteY506" fmla="*/ 838676 h 1857375"/>
              <a:gd name="connsiteX507" fmla="*/ 126206 w 1247775"/>
              <a:gd name="connsiteY507" fmla="*/ 836771 h 1857375"/>
              <a:gd name="connsiteX508" fmla="*/ 140494 w 1247775"/>
              <a:gd name="connsiteY508" fmla="*/ 842486 h 1857375"/>
              <a:gd name="connsiteX509" fmla="*/ 148114 w 1247775"/>
              <a:gd name="connsiteY509" fmla="*/ 840581 h 1857375"/>
              <a:gd name="connsiteX510" fmla="*/ 141446 w 1247775"/>
              <a:gd name="connsiteY510" fmla="*/ 858679 h 1857375"/>
              <a:gd name="connsiteX511" fmla="*/ 161449 w 1247775"/>
              <a:gd name="connsiteY511" fmla="*/ 885349 h 1857375"/>
              <a:gd name="connsiteX512" fmla="*/ 153829 w 1247775"/>
              <a:gd name="connsiteY512" fmla="*/ 911066 h 1857375"/>
              <a:gd name="connsiteX513" fmla="*/ 165259 w 1247775"/>
              <a:gd name="connsiteY513" fmla="*/ 940594 h 1857375"/>
              <a:gd name="connsiteX514" fmla="*/ 154781 w 1247775"/>
              <a:gd name="connsiteY514" fmla="*/ 955834 h 1857375"/>
              <a:gd name="connsiteX515" fmla="*/ 170974 w 1247775"/>
              <a:gd name="connsiteY515" fmla="*/ 972026 h 1857375"/>
              <a:gd name="connsiteX516" fmla="*/ 187166 w 1247775"/>
              <a:gd name="connsiteY516" fmla="*/ 957739 h 1857375"/>
              <a:gd name="connsiteX517" fmla="*/ 188119 w 1247775"/>
              <a:gd name="connsiteY517" fmla="*/ 957739 h 1857375"/>
              <a:gd name="connsiteX518" fmla="*/ 192881 w 1247775"/>
              <a:gd name="connsiteY518" fmla="*/ 955834 h 1857375"/>
              <a:gd name="connsiteX519" fmla="*/ 199549 w 1247775"/>
              <a:gd name="connsiteY519" fmla="*/ 956786 h 1857375"/>
              <a:gd name="connsiteX520" fmla="*/ 211931 w 1247775"/>
              <a:gd name="connsiteY520" fmla="*/ 954881 h 1857375"/>
              <a:gd name="connsiteX521" fmla="*/ 211931 w 1247775"/>
              <a:gd name="connsiteY521" fmla="*/ 954881 h 1857375"/>
              <a:gd name="connsiteX522" fmla="*/ 228124 w 1247775"/>
              <a:gd name="connsiteY522" fmla="*/ 948214 h 1857375"/>
              <a:gd name="connsiteX523" fmla="*/ 237649 w 1247775"/>
              <a:gd name="connsiteY523" fmla="*/ 954881 h 1857375"/>
              <a:gd name="connsiteX524" fmla="*/ 241459 w 1247775"/>
              <a:gd name="connsiteY524" fmla="*/ 953929 h 1857375"/>
              <a:gd name="connsiteX525" fmla="*/ 254794 w 1247775"/>
              <a:gd name="connsiteY525" fmla="*/ 957739 h 1857375"/>
              <a:gd name="connsiteX526" fmla="*/ 267176 w 1247775"/>
              <a:gd name="connsiteY526" fmla="*/ 953929 h 1857375"/>
              <a:gd name="connsiteX527" fmla="*/ 269081 w 1247775"/>
              <a:gd name="connsiteY527" fmla="*/ 953929 h 1857375"/>
              <a:gd name="connsiteX528" fmla="*/ 272891 w 1247775"/>
              <a:gd name="connsiteY528" fmla="*/ 952976 h 1857375"/>
              <a:gd name="connsiteX529" fmla="*/ 281464 w 1247775"/>
              <a:gd name="connsiteY529" fmla="*/ 970121 h 1857375"/>
              <a:gd name="connsiteX530" fmla="*/ 277654 w 1247775"/>
              <a:gd name="connsiteY530" fmla="*/ 970121 h 1857375"/>
              <a:gd name="connsiteX531" fmla="*/ 275749 w 1247775"/>
              <a:gd name="connsiteY531" fmla="*/ 970121 h 1857375"/>
              <a:gd name="connsiteX532" fmla="*/ 265271 w 1247775"/>
              <a:gd name="connsiteY532" fmla="*/ 959644 h 1857375"/>
              <a:gd name="connsiteX533" fmla="*/ 254794 w 1247775"/>
              <a:gd name="connsiteY533" fmla="*/ 970121 h 1857375"/>
              <a:gd name="connsiteX534" fmla="*/ 260509 w 1247775"/>
              <a:gd name="connsiteY534" fmla="*/ 979646 h 1857375"/>
              <a:gd name="connsiteX535" fmla="*/ 257651 w 1247775"/>
              <a:gd name="connsiteY535" fmla="*/ 986314 h 1857375"/>
              <a:gd name="connsiteX536" fmla="*/ 247174 w 1247775"/>
              <a:gd name="connsiteY536" fmla="*/ 982504 h 1857375"/>
              <a:gd name="connsiteX537" fmla="*/ 230029 w 1247775"/>
              <a:gd name="connsiteY537" fmla="*/ 966311 h 1857375"/>
              <a:gd name="connsiteX538" fmla="*/ 212884 w 1247775"/>
              <a:gd name="connsiteY538" fmla="*/ 983456 h 1857375"/>
              <a:gd name="connsiteX539" fmla="*/ 215741 w 1247775"/>
              <a:gd name="connsiteY539" fmla="*/ 992029 h 1857375"/>
              <a:gd name="connsiteX540" fmla="*/ 206216 w 1247775"/>
              <a:gd name="connsiteY540" fmla="*/ 1014889 h 1857375"/>
              <a:gd name="connsiteX541" fmla="*/ 207169 w 1247775"/>
              <a:gd name="connsiteY541" fmla="*/ 1022509 h 1857375"/>
              <a:gd name="connsiteX542" fmla="*/ 200501 w 1247775"/>
              <a:gd name="connsiteY542" fmla="*/ 1021556 h 1857375"/>
              <a:gd name="connsiteX543" fmla="*/ 195739 w 1247775"/>
              <a:gd name="connsiteY543" fmla="*/ 1022509 h 1857375"/>
              <a:gd name="connsiteX544" fmla="*/ 182404 w 1247775"/>
              <a:gd name="connsiteY544" fmla="*/ 1015841 h 1857375"/>
              <a:gd name="connsiteX545" fmla="*/ 165259 w 1247775"/>
              <a:gd name="connsiteY545" fmla="*/ 1032986 h 1857375"/>
              <a:gd name="connsiteX546" fmla="*/ 170974 w 1247775"/>
              <a:gd name="connsiteY546" fmla="*/ 1045369 h 1857375"/>
              <a:gd name="connsiteX547" fmla="*/ 170021 w 1247775"/>
              <a:gd name="connsiteY547" fmla="*/ 1051084 h 1857375"/>
              <a:gd name="connsiteX548" fmla="*/ 170974 w 1247775"/>
              <a:gd name="connsiteY548" fmla="*/ 1057751 h 1857375"/>
              <a:gd name="connsiteX549" fmla="*/ 164306 w 1247775"/>
              <a:gd name="connsiteY549" fmla="*/ 1073944 h 1857375"/>
              <a:gd name="connsiteX550" fmla="*/ 166211 w 1247775"/>
              <a:gd name="connsiteY550" fmla="*/ 1081564 h 1857375"/>
              <a:gd name="connsiteX551" fmla="*/ 162401 w 1247775"/>
              <a:gd name="connsiteY551" fmla="*/ 1081564 h 1857375"/>
              <a:gd name="connsiteX552" fmla="*/ 162401 w 1247775"/>
              <a:gd name="connsiteY552" fmla="*/ 1080611 h 1857375"/>
              <a:gd name="connsiteX553" fmla="*/ 161449 w 1247775"/>
              <a:gd name="connsiteY553" fmla="*/ 1074896 h 1857375"/>
              <a:gd name="connsiteX554" fmla="*/ 162401 w 1247775"/>
              <a:gd name="connsiteY554" fmla="*/ 1070134 h 1857375"/>
              <a:gd name="connsiteX555" fmla="*/ 147161 w 1247775"/>
              <a:gd name="connsiteY555" fmla="*/ 1054894 h 1857375"/>
              <a:gd name="connsiteX556" fmla="*/ 137636 w 1247775"/>
              <a:gd name="connsiteY556" fmla="*/ 1057751 h 1857375"/>
              <a:gd name="connsiteX557" fmla="*/ 116681 w 1247775"/>
              <a:gd name="connsiteY557" fmla="*/ 1080611 h 1857375"/>
              <a:gd name="connsiteX558" fmla="*/ 135731 w 1247775"/>
              <a:gd name="connsiteY558" fmla="*/ 1103471 h 1857375"/>
              <a:gd name="connsiteX559" fmla="*/ 132874 w 1247775"/>
              <a:gd name="connsiteY559" fmla="*/ 1115854 h 1857375"/>
              <a:gd name="connsiteX560" fmla="*/ 157639 w 1247775"/>
              <a:gd name="connsiteY560" fmla="*/ 1149191 h 1857375"/>
              <a:gd name="connsiteX561" fmla="*/ 151924 w 1247775"/>
              <a:gd name="connsiteY561" fmla="*/ 1148239 h 1857375"/>
              <a:gd name="connsiteX562" fmla="*/ 123349 w 1247775"/>
              <a:gd name="connsiteY562" fmla="*/ 1166336 h 1857375"/>
              <a:gd name="connsiteX563" fmla="*/ 102394 w 1247775"/>
              <a:gd name="connsiteY563" fmla="*/ 1157764 h 1857375"/>
              <a:gd name="connsiteX564" fmla="*/ 73819 w 1247775"/>
              <a:gd name="connsiteY564" fmla="*/ 1186339 h 1857375"/>
              <a:gd name="connsiteX565" fmla="*/ 85249 w 1247775"/>
              <a:gd name="connsiteY565" fmla="*/ 1209199 h 1857375"/>
              <a:gd name="connsiteX566" fmla="*/ 85249 w 1247775"/>
              <a:gd name="connsiteY566" fmla="*/ 1210151 h 1857375"/>
              <a:gd name="connsiteX567" fmla="*/ 96679 w 1247775"/>
              <a:gd name="connsiteY567" fmla="*/ 1222534 h 1857375"/>
              <a:gd name="connsiteX568" fmla="*/ 84296 w 1247775"/>
              <a:gd name="connsiteY568" fmla="*/ 1237774 h 1857375"/>
              <a:gd name="connsiteX569" fmla="*/ 100489 w 1247775"/>
              <a:gd name="connsiteY569" fmla="*/ 1253966 h 1857375"/>
              <a:gd name="connsiteX570" fmla="*/ 115729 w 1247775"/>
              <a:gd name="connsiteY570" fmla="*/ 1241584 h 1857375"/>
              <a:gd name="connsiteX571" fmla="*/ 139541 w 1247775"/>
              <a:gd name="connsiteY571" fmla="*/ 1256824 h 1857375"/>
              <a:gd name="connsiteX572" fmla="*/ 140494 w 1247775"/>
              <a:gd name="connsiteY572" fmla="*/ 1256824 h 1857375"/>
              <a:gd name="connsiteX573" fmla="*/ 140494 w 1247775"/>
              <a:gd name="connsiteY573" fmla="*/ 1257776 h 1857375"/>
              <a:gd name="connsiteX574" fmla="*/ 130016 w 1247775"/>
              <a:gd name="connsiteY574" fmla="*/ 1272064 h 1857375"/>
              <a:gd name="connsiteX575" fmla="*/ 110966 w 1247775"/>
              <a:gd name="connsiteY575" fmla="*/ 1267301 h 1857375"/>
              <a:gd name="connsiteX576" fmla="*/ 85249 w 1247775"/>
              <a:gd name="connsiteY576" fmla="*/ 1276826 h 1857375"/>
              <a:gd name="connsiteX577" fmla="*/ 77629 w 1247775"/>
              <a:gd name="connsiteY577" fmla="*/ 1273969 h 1857375"/>
              <a:gd name="connsiteX578" fmla="*/ 64294 w 1247775"/>
              <a:gd name="connsiteY578" fmla="*/ 1287304 h 1857375"/>
              <a:gd name="connsiteX579" fmla="*/ 64294 w 1247775"/>
              <a:gd name="connsiteY579" fmla="*/ 1290161 h 1857375"/>
              <a:gd name="connsiteX580" fmla="*/ 64294 w 1247775"/>
              <a:gd name="connsiteY580" fmla="*/ 1291114 h 1857375"/>
              <a:gd name="connsiteX581" fmla="*/ 59531 w 1247775"/>
              <a:gd name="connsiteY581" fmla="*/ 1290161 h 1857375"/>
              <a:gd name="connsiteX582" fmla="*/ 40481 w 1247775"/>
              <a:gd name="connsiteY582" fmla="*/ 1309211 h 1857375"/>
              <a:gd name="connsiteX583" fmla="*/ 59531 w 1247775"/>
              <a:gd name="connsiteY583" fmla="*/ 1328261 h 1857375"/>
              <a:gd name="connsiteX584" fmla="*/ 73819 w 1247775"/>
              <a:gd name="connsiteY584" fmla="*/ 1322546 h 1857375"/>
              <a:gd name="connsiteX585" fmla="*/ 111919 w 1247775"/>
              <a:gd name="connsiteY585" fmla="*/ 1348264 h 1857375"/>
              <a:gd name="connsiteX586" fmla="*/ 139541 w 1247775"/>
              <a:gd name="connsiteY586" fmla="*/ 1337786 h 1857375"/>
              <a:gd name="connsiteX587" fmla="*/ 136684 w 1247775"/>
              <a:gd name="connsiteY587" fmla="*/ 1345406 h 1857375"/>
              <a:gd name="connsiteX588" fmla="*/ 136684 w 1247775"/>
              <a:gd name="connsiteY588" fmla="*/ 1345406 h 1857375"/>
              <a:gd name="connsiteX589" fmla="*/ 116681 w 1247775"/>
              <a:gd name="connsiteY589" fmla="*/ 1373981 h 1857375"/>
              <a:gd name="connsiteX590" fmla="*/ 123349 w 1247775"/>
              <a:gd name="connsiteY590" fmla="*/ 1393031 h 1857375"/>
              <a:gd name="connsiteX591" fmla="*/ 113824 w 1247775"/>
              <a:gd name="connsiteY591" fmla="*/ 1390174 h 1857375"/>
              <a:gd name="connsiteX592" fmla="*/ 99536 w 1247775"/>
              <a:gd name="connsiteY592" fmla="*/ 1398746 h 1857375"/>
              <a:gd name="connsiteX593" fmla="*/ 98584 w 1247775"/>
              <a:gd name="connsiteY593" fmla="*/ 1398746 h 1857375"/>
              <a:gd name="connsiteX594" fmla="*/ 90964 w 1247775"/>
              <a:gd name="connsiteY594" fmla="*/ 1400651 h 1857375"/>
              <a:gd name="connsiteX595" fmla="*/ 59531 w 1247775"/>
              <a:gd name="connsiteY595" fmla="*/ 1384459 h 1857375"/>
              <a:gd name="connsiteX596" fmla="*/ 33814 w 1247775"/>
              <a:gd name="connsiteY596" fmla="*/ 1393984 h 1857375"/>
              <a:gd name="connsiteX597" fmla="*/ 32861 w 1247775"/>
              <a:gd name="connsiteY597" fmla="*/ 1393984 h 1857375"/>
              <a:gd name="connsiteX598" fmla="*/ 27146 w 1247775"/>
              <a:gd name="connsiteY598" fmla="*/ 1399699 h 1857375"/>
              <a:gd name="connsiteX599" fmla="*/ 27146 w 1247775"/>
              <a:gd name="connsiteY599" fmla="*/ 1400651 h 1857375"/>
              <a:gd name="connsiteX600" fmla="*/ 19526 w 1247775"/>
              <a:gd name="connsiteY600" fmla="*/ 1420654 h 1857375"/>
              <a:gd name="connsiteX601" fmla="*/ 7144 w 1247775"/>
              <a:gd name="connsiteY601" fmla="*/ 1437799 h 1857375"/>
              <a:gd name="connsiteX602" fmla="*/ 26194 w 1247775"/>
              <a:gd name="connsiteY602" fmla="*/ 1456849 h 1857375"/>
              <a:gd name="connsiteX603" fmla="*/ 34766 w 1247775"/>
              <a:gd name="connsiteY603" fmla="*/ 1454944 h 1857375"/>
              <a:gd name="connsiteX604" fmla="*/ 59531 w 1247775"/>
              <a:gd name="connsiteY604" fmla="*/ 1463516 h 1857375"/>
              <a:gd name="connsiteX605" fmla="*/ 98584 w 1247775"/>
              <a:gd name="connsiteY605" fmla="*/ 1429226 h 1857375"/>
              <a:gd name="connsiteX606" fmla="*/ 98584 w 1247775"/>
              <a:gd name="connsiteY606" fmla="*/ 1429226 h 1857375"/>
              <a:gd name="connsiteX607" fmla="*/ 110966 w 1247775"/>
              <a:gd name="connsiteY607" fmla="*/ 1422559 h 1857375"/>
              <a:gd name="connsiteX608" fmla="*/ 112871 w 1247775"/>
              <a:gd name="connsiteY608" fmla="*/ 1422559 h 1857375"/>
              <a:gd name="connsiteX609" fmla="*/ 129064 w 1247775"/>
              <a:gd name="connsiteY609" fmla="*/ 1406366 h 1857375"/>
              <a:gd name="connsiteX610" fmla="*/ 126206 w 1247775"/>
              <a:gd name="connsiteY610" fmla="*/ 1397794 h 1857375"/>
              <a:gd name="connsiteX611" fmla="*/ 146209 w 1247775"/>
              <a:gd name="connsiteY611" fmla="*/ 1405414 h 1857375"/>
              <a:gd name="connsiteX612" fmla="*/ 173831 w 1247775"/>
              <a:gd name="connsiteY612" fmla="*/ 1388269 h 1857375"/>
              <a:gd name="connsiteX613" fmla="*/ 176689 w 1247775"/>
              <a:gd name="connsiteY613" fmla="*/ 1388269 h 1857375"/>
              <a:gd name="connsiteX614" fmla="*/ 177641 w 1247775"/>
              <a:gd name="connsiteY614" fmla="*/ 1388269 h 1857375"/>
              <a:gd name="connsiteX615" fmla="*/ 212884 w 1247775"/>
              <a:gd name="connsiteY615" fmla="*/ 1410176 h 1857375"/>
              <a:gd name="connsiteX616" fmla="*/ 246221 w 1247775"/>
              <a:gd name="connsiteY616" fmla="*/ 1391126 h 1857375"/>
              <a:gd name="connsiteX617" fmla="*/ 247174 w 1247775"/>
              <a:gd name="connsiteY617" fmla="*/ 1391126 h 1857375"/>
              <a:gd name="connsiteX618" fmla="*/ 253841 w 1247775"/>
              <a:gd name="connsiteY618" fmla="*/ 1383506 h 1857375"/>
              <a:gd name="connsiteX619" fmla="*/ 250984 w 1247775"/>
              <a:gd name="connsiteY619" fmla="*/ 1377791 h 1857375"/>
              <a:gd name="connsiteX620" fmla="*/ 251936 w 1247775"/>
              <a:gd name="connsiteY620" fmla="*/ 1370171 h 1857375"/>
              <a:gd name="connsiteX621" fmla="*/ 212884 w 1247775"/>
              <a:gd name="connsiteY621" fmla="*/ 1331119 h 1857375"/>
              <a:gd name="connsiteX622" fmla="*/ 206216 w 1247775"/>
              <a:gd name="connsiteY622" fmla="*/ 1332071 h 1857375"/>
              <a:gd name="connsiteX623" fmla="*/ 199549 w 1247775"/>
              <a:gd name="connsiteY623" fmla="*/ 1331119 h 1857375"/>
              <a:gd name="connsiteX624" fmla="*/ 188119 w 1247775"/>
              <a:gd name="connsiteY624" fmla="*/ 1320641 h 1857375"/>
              <a:gd name="connsiteX625" fmla="*/ 176689 w 1247775"/>
              <a:gd name="connsiteY625" fmla="*/ 1332071 h 1857375"/>
              <a:gd name="connsiteX626" fmla="*/ 176689 w 1247775"/>
              <a:gd name="connsiteY626" fmla="*/ 1333024 h 1857375"/>
              <a:gd name="connsiteX627" fmla="*/ 165259 w 1247775"/>
              <a:gd name="connsiteY627" fmla="*/ 1329214 h 1857375"/>
              <a:gd name="connsiteX628" fmla="*/ 150019 w 1247775"/>
              <a:gd name="connsiteY628" fmla="*/ 1334929 h 1857375"/>
              <a:gd name="connsiteX629" fmla="*/ 147161 w 1247775"/>
              <a:gd name="connsiteY629" fmla="*/ 1333976 h 1857375"/>
              <a:gd name="connsiteX630" fmla="*/ 139541 w 1247775"/>
              <a:gd name="connsiteY630" fmla="*/ 1336834 h 1857375"/>
              <a:gd name="connsiteX631" fmla="*/ 150971 w 1247775"/>
              <a:gd name="connsiteY631" fmla="*/ 1308259 h 1857375"/>
              <a:gd name="connsiteX632" fmla="*/ 150019 w 1247775"/>
              <a:gd name="connsiteY632" fmla="*/ 1303496 h 1857375"/>
              <a:gd name="connsiteX633" fmla="*/ 151924 w 1247775"/>
              <a:gd name="connsiteY633" fmla="*/ 1303496 h 1857375"/>
              <a:gd name="connsiteX634" fmla="*/ 176689 w 1247775"/>
              <a:gd name="connsiteY634" fmla="*/ 1278731 h 1857375"/>
              <a:gd name="connsiteX635" fmla="*/ 153829 w 1247775"/>
              <a:gd name="connsiteY635" fmla="*/ 1254919 h 1857375"/>
              <a:gd name="connsiteX636" fmla="*/ 152876 w 1247775"/>
              <a:gd name="connsiteY636" fmla="*/ 1253014 h 1857375"/>
              <a:gd name="connsiteX637" fmla="*/ 156686 w 1247775"/>
              <a:gd name="connsiteY637" fmla="*/ 1249204 h 1857375"/>
              <a:gd name="connsiteX638" fmla="*/ 170021 w 1247775"/>
              <a:gd name="connsiteY638" fmla="*/ 1233011 h 1857375"/>
              <a:gd name="connsiteX639" fmla="*/ 168116 w 1247775"/>
              <a:gd name="connsiteY639" fmla="*/ 1224439 h 1857375"/>
              <a:gd name="connsiteX640" fmla="*/ 176689 w 1247775"/>
              <a:gd name="connsiteY640" fmla="*/ 1213961 h 1857375"/>
              <a:gd name="connsiteX641" fmla="*/ 170021 w 1247775"/>
              <a:gd name="connsiteY641" fmla="*/ 1204436 h 1857375"/>
              <a:gd name="connsiteX642" fmla="*/ 180499 w 1247775"/>
              <a:gd name="connsiteY642" fmla="*/ 1181576 h 1857375"/>
              <a:gd name="connsiteX643" fmla="*/ 158591 w 1247775"/>
              <a:gd name="connsiteY643" fmla="*/ 1152049 h 1857375"/>
              <a:gd name="connsiteX644" fmla="*/ 165259 w 1247775"/>
              <a:gd name="connsiteY644" fmla="*/ 1153001 h 1857375"/>
              <a:gd name="connsiteX645" fmla="*/ 169069 w 1247775"/>
              <a:gd name="connsiteY645" fmla="*/ 1153001 h 1857375"/>
              <a:gd name="connsiteX646" fmla="*/ 169069 w 1247775"/>
              <a:gd name="connsiteY646" fmla="*/ 1153001 h 1857375"/>
              <a:gd name="connsiteX647" fmla="*/ 177641 w 1247775"/>
              <a:gd name="connsiteY647" fmla="*/ 1161574 h 1857375"/>
              <a:gd name="connsiteX648" fmla="*/ 178594 w 1247775"/>
              <a:gd name="connsiteY648" fmla="*/ 1161574 h 1857375"/>
              <a:gd name="connsiteX649" fmla="*/ 178594 w 1247775"/>
              <a:gd name="connsiteY649" fmla="*/ 1162526 h 1857375"/>
              <a:gd name="connsiteX650" fmla="*/ 188119 w 1247775"/>
              <a:gd name="connsiteY650" fmla="*/ 1180624 h 1857375"/>
              <a:gd name="connsiteX651" fmla="*/ 185261 w 1247775"/>
              <a:gd name="connsiteY651" fmla="*/ 1193006 h 1857375"/>
              <a:gd name="connsiteX652" fmla="*/ 210026 w 1247775"/>
              <a:gd name="connsiteY652" fmla="*/ 1221581 h 1857375"/>
              <a:gd name="connsiteX653" fmla="*/ 205264 w 1247775"/>
              <a:gd name="connsiteY653" fmla="*/ 1229201 h 1857375"/>
              <a:gd name="connsiteX654" fmla="*/ 213836 w 1247775"/>
              <a:gd name="connsiteY654" fmla="*/ 1237774 h 1857375"/>
              <a:gd name="connsiteX655" fmla="*/ 222409 w 1247775"/>
              <a:gd name="connsiteY655" fmla="*/ 1229201 h 1857375"/>
              <a:gd name="connsiteX656" fmla="*/ 217646 w 1247775"/>
              <a:gd name="connsiteY656" fmla="*/ 1221581 h 1857375"/>
              <a:gd name="connsiteX657" fmla="*/ 219551 w 1247775"/>
              <a:gd name="connsiteY657" fmla="*/ 1221581 h 1857375"/>
              <a:gd name="connsiteX658" fmla="*/ 226219 w 1247775"/>
              <a:gd name="connsiteY658" fmla="*/ 1223486 h 1857375"/>
              <a:gd name="connsiteX659" fmla="*/ 239554 w 1247775"/>
              <a:gd name="connsiteY659" fmla="*/ 1210151 h 1857375"/>
              <a:gd name="connsiteX660" fmla="*/ 239554 w 1247775"/>
              <a:gd name="connsiteY660" fmla="*/ 1209199 h 1857375"/>
              <a:gd name="connsiteX661" fmla="*/ 244316 w 1247775"/>
              <a:gd name="connsiteY661" fmla="*/ 1196816 h 1857375"/>
              <a:gd name="connsiteX662" fmla="*/ 246221 w 1247775"/>
              <a:gd name="connsiteY662" fmla="*/ 1196816 h 1857375"/>
              <a:gd name="connsiteX663" fmla="*/ 254794 w 1247775"/>
              <a:gd name="connsiteY663" fmla="*/ 1188244 h 1857375"/>
              <a:gd name="connsiteX664" fmla="*/ 250984 w 1247775"/>
              <a:gd name="connsiteY664" fmla="*/ 1181576 h 1857375"/>
              <a:gd name="connsiteX665" fmla="*/ 259556 w 1247775"/>
              <a:gd name="connsiteY665" fmla="*/ 1172051 h 1857375"/>
              <a:gd name="connsiteX666" fmla="*/ 252889 w 1247775"/>
              <a:gd name="connsiteY666" fmla="*/ 1162526 h 1857375"/>
              <a:gd name="connsiteX667" fmla="*/ 255746 w 1247775"/>
              <a:gd name="connsiteY667" fmla="*/ 1153001 h 1857375"/>
              <a:gd name="connsiteX668" fmla="*/ 239554 w 1247775"/>
              <a:gd name="connsiteY668" fmla="*/ 1136809 h 1857375"/>
              <a:gd name="connsiteX669" fmla="*/ 223361 w 1247775"/>
              <a:gd name="connsiteY669" fmla="*/ 1153001 h 1857375"/>
              <a:gd name="connsiteX670" fmla="*/ 239554 w 1247775"/>
              <a:gd name="connsiteY670" fmla="*/ 1169194 h 1857375"/>
              <a:gd name="connsiteX671" fmla="*/ 240506 w 1247775"/>
              <a:gd name="connsiteY671" fmla="*/ 1169194 h 1857375"/>
              <a:gd name="connsiteX672" fmla="*/ 239554 w 1247775"/>
              <a:gd name="connsiteY672" fmla="*/ 1172051 h 1857375"/>
              <a:gd name="connsiteX673" fmla="*/ 244316 w 1247775"/>
              <a:gd name="connsiteY673" fmla="*/ 1180624 h 1857375"/>
              <a:gd name="connsiteX674" fmla="*/ 241459 w 1247775"/>
              <a:gd name="connsiteY674" fmla="*/ 1181576 h 1857375"/>
              <a:gd name="connsiteX675" fmla="*/ 223361 w 1247775"/>
              <a:gd name="connsiteY675" fmla="*/ 1165384 h 1857375"/>
              <a:gd name="connsiteX676" fmla="*/ 223361 w 1247775"/>
              <a:gd name="connsiteY676" fmla="*/ 1162526 h 1857375"/>
              <a:gd name="connsiteX677" fmla="*/ 201454 w 1247775"/>
              <a:gd name="connsiteY677" fmla="*/ 1140619 h 1857375"/>
              <a:gd name="connsiteX678" fmla="*/ 190976 w 1247775"/>
              <a:gd name="connsiteY678" fmla="*/ 1143476 h 1857375"/>
              <a:gd name="connsiteX679" fmla="*/ 201454 w 1247775"/>
              <a:gd name="connsiteY679" fmla="*/ 1118711 h 1857375"/>
              <a:gd name="connsiteX680" fmla="*/ 200501 w 1247775"/>
              <a:gd name="connsiteY680" fmla="*/ 1111091 h 1857375"/>
              <a:gd name="connsiteX681" fmla="*/ 205264 w 1247775"/>
              <a:gd name="connsiteY681" fmla="*/ 1105376 h 1857375"/>
              <a:gd name="connsiteX682" fmla="*/ 199549 w 1247775"/>
              <a:gd name="connsiteY682" fmla="*/ 1099661 h 1857375"/>
              <a:gd name="connsiteX683" fmla="*/ 196691 w 1247775"/>
              <a:gd name="connsiteY683" fmla="*/ 1100614 h 1857375"/>
              <a:gd name="connsiteX684" fmla="*/ 193834 w 1247775"/>
              <a:gd name="connsiteY684" fmla="*/ 1096804 h 1857375"/>
              <a:gd name="connsiteX685" fmla="*/ 207169 w 1247775"/>
              <a:gd name="connsiteY685" fmla="*/ 1081564 h 1857375"/>
              <a:gd name="connsiteX686" fmla="*/ 228124 w 1247775"/>
              <a:gd name="connsiteY686" fmla="*/ 1052989 h 1857375"/>
              <a:gd name="connsiteX687" fmla="*/ 227171 w 1247775"/>
              <a:gd name="connsiteY687" fmla="*/ 1048226 h 1857375"/>
              <a:gd name="connsiteX688" fmla="*/ 236696 w 1247775"/>
              <a:gd name="connsiteY688" fmla="*/ 1050131 h 1857375"/>
              <a:gd name="connsiteX689" fmla="*/ 257651 w 1247775"/>
              <a:gd name="connsiteY689" fmla="*/ 1042511 h 1857375"/>
              <a:gd name="connsiteX690" fmla="*/ 263366 w 1247775"/>
              <a:gd name="connsiteY690" fmla="*/ 1043464 h 1857375"/>
              <a:gd name="connsiteX691" fmla="*/ 282416 w 1247775"/>
              <a:gd name="connsiteY691" fmla="*/ 1024414 h 1857375"/>
              <a:gd name="connsiteX692" fmla="*/ 279559 w 1247775"/>
              <a:gd name="connsiteY692" fmla="*/ 1013936 h 1857375"/>
              <a:gd name="connsiteX693" fmla="*/ 295751 w 1247775"/>
              <a:gd name="connsiteY693" fmla="*/ 1000601 h 1857375"/>
              <a:gd name="connsiteX694" fmla="*/ 294799 w 1247775"/>
              <a:gd name="connsiteY694" fmla="*/ 1006316 h 1857375"/>
              <a:gd name="connsiteX695" fmla="*/ 294799 w 1247775"/>
              <a:gd name="connsiteY695" fmla="*/ 1009174 h 1857375"/>
              <a:gd name="connsiteX696" fmla="*/ 293846 w 1247775"/>
              <a:gd name="connsiteY696" fmla="*/ 1015841 h 1857375"/>
              <a:gd name="connsiteX697" fmla="*/ 297656 w 1247775"/>
              <a:gd name="connsiteY697" fmla="*/ 1026319 h 1857375"/>
              <a:gd name="connsiteX698" fmla="*/ 284321 w 1247775"/>
              <a:gd name="connsiteY698" fmla="*/ 1051084 h 1857375"/>
              <a:gd name="connsiteX699" fmla="*/ 284321 w 1247775"/>
              <a:gd name="connsiteY699" fmla="*/ 1052989 h 1857375"/>
              <a:gd name="connsiteX700" fmla="*/ 280511 w 1247775"/>
              <a:gd name="connsiteY700" fmla="*/ 1052036 h 1857375"/>
              <a:gd name="connsiteX701" fmla="*/ 268129 w 1247775"/>
              <a:gd name="connsiteY701" fmla="*/ 1064419 h 1857375"/>
              <a:gd name="connsiteX702" fmla="*/ 277654 w 1247775"/>
              <a:gd name="connsiteY702" fmla="*/ 1075849 h 1857375"/>
              <a:gd name="connsiteX703" fmla="*/ 277654 w 1247775"/>
              <a:gd name="connsiteY703" fmla="*/ 1076801 h 1857375"/>
              <a:gd name="connsiteX704" fmla="*/ 295751 w 1247775"/>
              <a:gd name="connsiteY704" fmla="*/ 1094899 h 1857375"/>
              <a:gd name="connsiteX705" fmla="*/ 303371 w 1247775"/>
              <a:gd name="connsiteY705" fmla="*/ 1092994 h 1857375"/>
              <a:gd name="connsiteX706" fmla="*/ 300514 w 1247775"/>
              <a:gd name="connsiteY706" fmla="*/ 1100614 h 1857375"/>
              <a:gd name="connsiteX707" fmla="*/ 304324 w 1247775"/>
              <a:gd name="connsiteY707" fmla="*/ 1110139 h 1857375"/>
              <a:gd name="connsiteX708" fmla="*/ 303371 w 1247775"/>
              <a:gd name="connsiteY708" fmla="*/ 1110139 h 1857375"/>
              <a:gd name="connsiteX709" fmla="*/ 270986 w 1247775"/>
              <a:gd name="connsiteY709" fmla="*/ 1142524 h 1857375"/>
              <a:gd name="connsiteX710" fmla="*/ 285274 w 1247775"/>
              <a:gd name="connsiteY710" fmla="*/ 1169194 h 1857375"/>
              <a:gd name="connsiteX711" fmla="*/ 288131 w 1247775"/>
              <a:gd name="connsiteY711" fmla="*/ 1174909 h 1857375"/>
              <a:gd name="connsiteX712" fmla="*/ 280511 w 1247775"/>
              <a:gd name="connsiteY712" fmla="*/ 1193959 h 1857375"/>
              <a:gd name="connsiteX713" fmla="*/ 266224 w 1247775"/>
              <a:gd name="connsiteY713" fmla="*/ 1210151 h 1857375"/>
              <a:gd name="connsiteX714" fmla="*/ 269081 w 1247775"/>
              <a:gd name="connsiteY714" fmla="*/ 1218724 h 1857375"/>
              <a:gd name="connsiteX715" fmla="*/ 258604 w 1247775"/>
              <a:gd name="connsiteY715" fmla="*/ 1216819 h 1857375"/>
              <a:gd name="connsiteX716" fmla="*/ 227171 w 1247775"/>
              <a:gd name="connsiteY716" fmla="*/ 1248251 h 1857375"/>
              <a:gd name="connsiteX717" fmla="*/ 258604 w 1247775"/>
              <a:gd name="connsiteY717" fmla="*/ 1279684 h 1857375"/>
              <a:gd name="connsiteX718" fmla="*/ 285274 w 1247775"/>
              <a:gd name="connsiteY718" fmla="*/ 1264444 h 1857375"/>
              <a:gd name="connsiteX719" fmla="*/ 293846 w 1247775"/>
              <a:gd name="connsiteY719" fmla="*/ 1266349 h 1857375"/>
              <a:gd name="connsiteX720" fmla="*/ 316706 w 1247775"/>
              <a:gd name="connsiteY720" fmla="*/ 1253966 h 1857375"/>
              <a:gd name="connsiteX721" fmla="*/ 321469 w 1247775"/>
              <a:gd name="connsiteY721" fmla="*/ 1249204 h 1857375"/>
              <a:gd name="connsiteX722" fmla="*/ 326231 w 1247775"/>
              <a:gd name="connsiteY722" fmla="*/ 1263491 h 1857375"/>
              <a:gd name="connsiteX723" fmla="*/ 326231 w 1247775"/>
              <a:gd name="connsiteY723" fmla="*/ 1264444 h 1857375"/>
              <a:gd name="connsiteX724" fmla="*/ 328136 w 1247775"/>
              <a:gd name="connsiteY724" fmla="*/ 1275874 h 1857375"/>
              <a:gd name="connsiteX725" fmla="*/ 322421 w 1247775"/>
              <a:gd name="connsiteY725" fmla="*/ 1285399 h 1857375"/>
              <a:gd name="connsiteX726" fmla="*/ 310991 w 1247775"/>
              <a:gd name="connsiteY726" fmla="*/ 1279684 h 1857375"/>
              <a:gd name="connsiteX727" fmla="*/ 304324 w 1247775"/>
              <a:gd name="connsiteY727" fmla="*/ 1273016 h 1857375"/>
              <a:gd name="connsiteX728" fmla="*/ 297656 w 1247775"/>
              <a:gd name="connsiteY728" fmla="*/ 1279684 h 1857375"/>
              <a:gd name="connsiteX729" fmla="*/ 299561 w 1247775"/>
              <a:gd name="connsiteY729" fmla="*/ 1284446 h 1857375"/>
              <a:gd name="connsiteX730" fmla="*/ 294799 w 1247775"/>
              <a:gd name="connsiteY730" fmla="*/ 1296829 h 1857375"/>
              <a:gd name="connsiteX731" fmla="*/ 298609 w 1247775"/>
              <a:gd name="connsiteY731" fmla="*/ 1307306 h 1857375"/>
              <a:gd name="connsiteX732" fmla="*/ 298609 w 1247775"/>
              <a:gd name="connsiteY732" fmla="*/ 1307306 h 1857375"/>
              <a:gd name="connsiteX733" fmla="*/ 308134 w 1247775"/>
              <a:gd name="connsiteY733" fmla="*/ 1316831 h 1857375"/>
              <a:gd name="connsiteX734" fmla="*/ 314801 w 1247775"/>
              <a:gd name="connsiteY734" fmla="*/ 1313974 h 1857375"/>
              <a:gd name="connsiteX735" fmla="*/ 328136 w 1247775"/>
              <a:gd name="connsiteY735" fmla="*/ 1302544 h 1857375"/>
              <a:gd name="connsiteX736" fmla="*/ 343376 w 1247775"/>
              <a:gd name="connsiteY736" fmla="*/ 1310164 h 1857375"/>
              <a:gd name="connsiteX737" fmla="*/ 353854 w 1247775"/>
              <a:gd name="connsiteY737" fmla="*/ 1306354 h 1857375"/>
              <a:gd name="connsiteX738" fmla="*/ 353854 w 1247775"/>
              <a:gd name="connsiteY738" fmla="*/ 1307306 h 1857375"/>
              <a:gd name="connsiteX739" fmla="*/ 369094 w 1247775"/>
              <a:gd name="connsiteY739" fmla="*/ 1322546 h 1857375"/>
              <a:gd name="connsiteX740" fmla="*/ 376714 w 1247775"/>
              <a:gd name="connsiteY740" fmla="*/ 1320641 h 1857375"/>
              <a:gd name="connsiteX741" fmla="*/ 384334 w 1247775"/>
              <a:gd name="connsiteY741" fmla="*/ 1323499 h 1857375"/>
              <a:gd name="connsiteX742" fmla="*/ 396716 w 1247775"/>
              <a:gd name="connsiteY742" fmla="*/ 1311116 h 1857375"/>
              <a:gd name="connsiteX743" fmla="*/ 396716 w 1247775"/>
              <a:gd name="connsiteY743" fmla="*/ 1309211 h 1857375"/>
              <a:gd name="connsiteX744" fmla="*/ 406241 w 1247775"/>
              <a:gd name="connsiteY744" fmla="*/ 1293971 h 1857375"/>
              <a:gd name="connsiteX745" fmla="*/ 397669 w 1247775"/>
              <a:gd name="connsiteY745" fmla="*/ 1278731 h 1857375"/>
              <a:gd name="connsiteX746" fmla="*/ 397669 w 1247775"/>
              <a:gd name="connsiteY746" fmla="*/ 1278731 h 1857375"/>
              <a:gd name="connsiteX747" fmla="*/ 404336 w 1247775"/>
              <a:gd name="connsiteY747" fmla="*/ 1280636 h 1857375"/>
              <a:gd name="connsiteX748" fmla="*/ 408146 w 1247775"/>
              <a:gd name="connsiteY748" fmla="*/ 1279684 h 1857375"/>
              <a:gd name="connsiteX749" fmla="*/ 421481 w 1247775"/>
              <a:gd name="connsiteY749" fmla="*/ 1288256 h 1857375"/>
              <a:gd name="connsiteX750" fmla="*/ 437674 w 1247775"/>
              <a:gd name="connsiteY750" fmla="*/ 1296829 h 1857375"/>
              <a:gd name="connsiteX751" fmla="*/ 456724 w 1247775"/>
              <a:gd name="connsiteY751" fmla="*/ 1277779 h 1857375"/>
              <a:gd name="connsiteX752" fmla="*/ 456724 w 1247775"/>
              <a:gd name="connsiteY752" fmla="*/ 1276826 h 1857375"/>
              <a:gd name="connsiteX753" fmla="*/ 471011 w 1247775"/>
              <a:gd name="connsiteY753" fmla="*/ 1284446 h 1857375"/>
              <a:gd name="connsiteX754" fmla="*/ 485299 w 1247775"/>
              <a:gd name="connsiteY754" fmla="*/ 1291114 h 1857375"/>
              <a:gd name="connsiteX755" fmla="*/ 499586 w 1247775"/>
              <a:gd name="connsiteY755" fmla="*/ 1283494 h 1857375"/>
              <a:gd name="connsiteX756" fmla="*/ 500539 w 1247775"/>
              <a:gd name="connsiteY756" fmla="*/ 1284446 h 1857375"/>
              <a:gd name="connsiteX757" fmla="*/ 498634 w 1247775"/>
              <a:gd name="connsiteY757" fmla="*/ 1286351 h 1857375"/>
              <a:gd name="connsiteX758" fmla="*/ 491014 w 1247775"/>
              <a:gd name="connsiteY758" fmla="*/ 1297781 h 1857375"/>
              <a:gd name="connsiteX759" fmla="*/ 483394 w 1247775"/>
              <a:gd name="connsiteY759" fmla="*/ 1313974 h 1857375"/>
              <a:gd name="connsiteX760" fmla="*/ 477679 w 1247775"/>
              <a:gd name="connsiteY760" fmla="*/ 1317784 h 1857375"/>
              <a:gd name="connsiteX761" fmla="*/ 471011 w 1247775"/>
              <a:gd name="connsiteY761" fmla="*/ 1315879 h 1857375"/>
              <a:gd name="connsiteX762" fmla="*/ 457676 w 1247775"/>
              <a:gd name="connsiteY762" fmla="*/ 1329214 h 1857375"/>
              <a:gd name="connsiteX763" fmla="*/ 471011 w 1247775"/>
              <a:gd name="connsiteY763" fmla="*/ 1342549 h 1857375"/>
              <a:gd name="connsiteX764" fmla="*/ 475774 w 1247775"/>
              <a:gd name="connsiteY764" fmla="*/ 1341596 h 1857375"/>
              <a:gd name="connsiteX765" fmla="*/ 475774 w 1247775"/>
              <a:gd name="connsiteY765" fmla="*/ 1341596 h 1857375"/>
              <a:gd name="connsiteX766" fmla="*/ 451961 w 1247775"/>
              <a:gd name="connsiteY766" fmla="*/ 1361599 h 1857375"/>
              <a:gd name="connsiteX767" fmla="*/ 444341 w 1247775"/>
              <a:gd name="connsiteY767" fmla="*/ 1356836 h 1857375"/>
              <a:gd name="connsiteX768" fmla="*/ 446246 w 1247775"/>
              <a:gd name="connsiteY768" fmla="*/ 1349216 h 1857375"/>
              <a:gd name="connsiteX769" fmla="*/ 430054 w 1247775"/>
              <a:gd name="connsiteY769" fmla="*/ 1333024 h 1857375"/>
              <a:gd name="connsiteX770" fmla="*/ 417671 w 1247775"/>
              <a:gd name="connsiteY770" fmla="*/ 1337786 h 1857375"/>
              <a:gd name="connsiteX771" fmla="*/ 408146 w 1247775"/>
              <a:gd name="connsiteY771" fmla="*/ 1333024 h 1857375"/>
              <a:gd name="connsiteX772" fmla="*/ 395764 w 1247775"/>
              <a:gd name="connsiteY772" fmla="*/ 1345406 h 1857375"/>
              <a:gd name="connsiteX773" fmla="*/ 401479 w 1247775"/>
              <a:gd name="connsiteY773" fmla="*/ 1355884 h 1857375"/>
              <a:gd name="connsiteX774" fmla="*/ 386239 w 1247775"/>
              <a:gd name="connsiteY774" fmla="*/ 1375886 h 1857375"/>
              <a:gd name="connsiteX775" fmla="*/ 386239 w 1247775"/>
              <a:gd name="connsiteY775" fmla="*/ 1379696 h 1857375"/>
              <a:gd name="connsiteX776" fmla="*/ 384334 w 1247775"/>
              <a:gd name="connsiteY776" fmla="*/ 1387316 h 1857375"/>
              <a:gd name="connsiteX777" fmla="*/ 379571 w 1247775"/>
              <a:gd name="connsiteY777" fmla="*/ 1394936 h 1857375"/>
              <a:gd name="connsiteX778" fmla="*/ 378619 w 1247775"/>
              <a:gd name="connsiteY778" fmla="*/ 1394936 h 1857375"/>
              <a:gd name="connsiteX779" fmla="*/ 378619 w 1247775"/>
              <a:gd name="connsiteY779" fmla="*/ 1394936 h 1857375"/>
              <a:gd name="connsiteX780" fmla="*/ 379571 w 1247775"/>
              <a:gd name="connsiteY780" fmla="*/ 1389221 h 1857375"/>
              <a:gd name="connsiteX781" fmla="*/ 379571 w 1247775"/>
              <a:gd name="connsiteY781" fmla="*/ 1386364 h 1857375"/>
              <a:gd name="connsiteX782" fmla="*/ 386239 w 1247775"/>
              <a:gd name="connsiteY782" fmla="*/ 1373981 h 1857375"/>
              <a:gd name="connsiteX783" fmla="*/ 371951 w 1247775"/>
              <a:gd name="connsiteY783" fmla="*/ 1359694 h 1857375"/>
              <a:gd name="connsiteX784" fmla="*/ 360521 w 1247775"/>
              <a:gd name="connsiteY784" fmla="*/ 1365409 h 1857375"/>
              <a:gd name="connsiteX785" fmla="*/ 354806 w 1247775"/>
              <a:gd name="connsiteY785" fmla="*/ 1364456 h 1857375"/>
              <a:gd name="connsiteX786" fmla="*/ 339566 w 1247775"/>
              <a:gd name="connsiteY786" fmla="*/ 1370171 h 1857375"/>
              <a:gd name="connsiteX787" fmla="*/ 330041 w 1247775"/>
              <a:gd name="connsiteY787" fmla="*/ 1365409 h 1857375"/>
              <a:gd name="connsiteX788" fmla="*/ 318611 w 1247775"/>
              <a:gd name="connsiteY788" fmla="*/ 1373981 h 1857375"/>
              <a:gd name="connsiteX789" fmla="*/ 313849 w 1247775"/>
              <a:gd name="connsiteY789" fmla="*/ 1377791 h 1857375"/>
              <a:gd name="connsiteX790" fmla="*/ 308134 w 1247775"/>
              <a:gd name="connsiteY790" fmla="*/ 1376839 h 1857375"/>
              <a:gd name="connsiteX791" fmla="*/ 295751 w 1247775"/>
              <a:gd name="connsiteY791" fmla="*/ 1389221 h 1857375"/>
              <a:gd name="connsiteX792" fmla="*/ 308134 w 1247775"/>
              <a:gd name="connsiteY792" fmla="*/ 1401604 h 1857375"/>
              <a:gd name="connsiteX793" fmla="*/ 320516 w 1247775"/>
              <a:gd name="connsiteY793" fmla="*/ 1390174 h 1857375"/>
              <a:gd name="connsiteX794" fmla="*/ 320516 w 1247775"/>
              <a:gd name="connsiteY794" fmla="*/ 1390174 h 1857375"/>
              <a:gd name="connsiteX795" fmla="*/ 325279 w 1247775"/>
              <a:gd name="connsiteY795" fmla="*/ 1388269 h 1857375"/>
              <a:gd name="connsiteX796" fmla="*/ 329089 w 1247775"/>
              <a:gd name="connsiteY796" fmla="*/ 1389221 h 1857375"/>
              <a:gd name="connsiteX797" fmla="*/ 329089 w 1247775"/>
              <a:gd name="connsiteY797" fmla="*/ 1390174 h 1857375"/>
              <a:gd name="connsiteX798" fmla="*/ 347186 w 1247775"/>
              <a:gd name="connsiteY798" fmla="*/ 1413986 h 1857375"/>
              <a:gd name="connsiteX799" fmla="*/ 346234 w 1247775"/>
              <a:gd name="connsiteY799" fmla="*/ 1417796 h 1857375"/>
              <a:gd name="connsiteX800" fmla="*/ 347186 w 1247775"/>
              <a:gd name="connsiteY800" fmla="*/ 1420654 h 1857375"/>
              <a:gd name="connsiteX801" fmla="*/ 343376 w 1247775"/>
              <a:gd name="connsiteY801" fmla="*/ 1433036 h 1857375"/>
              <a:gd name="connsiteX802" fmla="*/ 347186 w 1247775"/>
              <a:gd name="connsiteY802" fmla="*/ 1446371 h 1857375"/>
              <a:gd name="connsiteX803" fmla="*/ 334804 w 1247775"/>
              <a:gd name="connsiteY803" fmla="*/ 1461611 h 1857375"/>
              <a:gd name="connsiteX804" fmla="*/ 350044 w 1247775"/>
              <a:gd name="connsiteY804" fmla="*/ 1476851 h 1857375"/>
              <a:gd name="connsiteX805" fmla="*/ 359569 w 1247775"/>
              <a:gd name="connsiteY805" fmla="*/ 1473994 h 1857375"/>
              <a:gd name="connsiteX806" fmla="*/ 377666 w 1247775"/>
              <a:gd name="connsiteY806" fmla="*/ 1486376 h 1857375"/>
              <a:gd name="connsiteX807" fmla="*/ 388144 w 1247775"/>
              <a:gd name="connsiteY807" fmla="*/ 1492091 h 1857375"/>
              <a:gd name="connsiteX808" fmla="*/ 400526 w 1247775"/>
              <a:gd name="connsiteY808" fmla="*/ 1479709 h 1857375"/>
              <a:gd name="connsiteX809" fmla="*/ 400526 w 1247775"/>
              <a:gd name="connsiteY809" fmla="*/ 1478756 h 1857375"/>
              <a:gd name="connsiteX810" fmla="*/ 408146 w 1247775"/>
              <a:gd name="connsiteY810" fmla="*/ 1460659 h 1857375"/>
              <a:gd name="connsiteX811" fmla="*/ 396716 w 1247775"/>
              <a:gd name="connsiteY811" fmla="*/ 1438751 h 1857375"/>
              <a:gd name="connsiteX812" fmla="*/ 397669 w 1247775"/>
              <a:gd name="connsiteY812" fmla="*/ 1433989 h 1857375"/>
              <a:gd name="connsiteX813" fmla="*/ 395764 w 1247775"/>
              <a:gd name="connsiteY813" fmla="*/ 1425416 h 1857375"/>
              <a:gd name="connsiteX814" fmla="*/ 396716 w 1247775"/>
              <a:gd name="connsiteY814" fmla="*/ 1420654 h 1857375"/>
              <a:gd name="connsiteX815" fmla="*/ 396716 w 1247775"/>
              <a:gd name="connsiteY815" fmla="*/ 1420654 h 1857375"/>
              <a:gd name="connsiteX816" fmla="*/ 399574 w 1247775"/>
              <a:gd name="connsiteY816" fmla="*/ 1423511 h 1857375"/>
              <a:gd name="connsiteX817" fmla="*/ 395764 w 1247775"/>
              <a:gd name="connsiteY817" fmla="*/ 1431131 h 1857375"/>
              <a:gd name="connsiteX818" fmla="*/ 406241 w 1247775"/>
              <a:gd name="connsiteY818" fmla="*/ 1441609 h 1857375"/>
              <a:gd name="connsiteX819" fmla="*/ 416719 w 1247775"/>
              <a:gd name="connsiteY819" fmla="*/ 1432084 h 1857375"/>
              <a:gd name="connsiteX820" fmla="*/ 422434 w 1247775"/>
              <a:gd name="connsiteY820" fmla="*/ 1433036 h 1857375"/>
              <a:gd name="connsiteX821" fmla="*/ 420529 w 1247775"/>
              <a:gd name="connsiteY821" fmla="*/ 1440656 h 1857375"/>
              <a:gd name="connsiteX822" fmla="*/ 427196 w 1247775"/>
              <a:gd name="connsiteY822" fmla="*/ 1454944 h 1857375"/>
              <a:gd name="connsiteX823" fmla="*/ 417671 w 1247775"/>
              <a:gd name="connsiteY823" fmla="*/ 1471136 h 1857375"/>
              <a:gd name="connsiteX824" fmla="*/ 419576 w 1247775"/>
              <a:gd name="connsiteY824" fmla="*/ 1478756 h 1857375"/>
              <a:gd name="connsiteX825" fmla="*/ 408146 w 1247775"/>
              <a:gd name="connsiteY825" fmla="*/ 1490186 h 1857375"/>
              <a:gd name="connsiteX826" fmla="*/ 411956 w 1247775"/>
              <a:gd name="connsiteY826" fmla="*/ 1498759 h 1857375"/>
              <a:gd name="connsiteX827" fmla="*/ 411004 w 1247775"/>
              <a:gd name="connsiteY827" fmla="*/ 1502569 h 1857375"/>
              <a:gd name="connsiteX828" fmla="*/ 404336 w 1247775"/>
              <a:gd name="connsiteY828" fmla="*/ 1500664 h 1857375"/>
              <a:gd name="connsiteX829" fmla="*/ 393859 w 1247775"/>
              <a:gd name="connsiteY829" fmla="*/ 1511141 h 1857375"/>
              <a:gd name="connsiteX830" fmla="*/ 399574 w 1247775"/>
              <a:gd name="connsiteY830" fmla="*/ 1519714 h 1857375"/>
              <a:gd name="connsiteX831" fmla="*/ 387191 w 1247775"/>
              <a:gd name="connsiteY831" fmla="*/ 1535906 h 1857375"/>
              <a:gd name="connsiteX832" fmla="*/ 389096 w 1247775"/>
              <a:gd name="connsiteY832" fmla="*/ 1544479 h 1857375"/>
              <a:gd name="connsiteX833" fmla="*/ 384334 w 1247775"/>
              <a:gd name="connsiteY833" fmla="*/ 1545431 h 1857375"/>
              <a:gd name="connsiteX834" fmla="*/ 367189 w 1247775"/>
              <a:gd name="connsiteY834" fmla="*/ 1530191 h 1857375"/>
              <a:gd name="connsiteX835" fmla="*/ 350044 w 1247775"/>
              <a:gd name="connsiteY835" fmla="*/ 1547336 h 1857375"/>
              <a:gd name="connsiteX836" fmla="*/ 361474 w 1247775"/>
              <a:gd name="connsiteY836" fmla="*/ 1563529 h 1857375"/>
              <a:gd name="connsiteX837" fmla="*/ 359569 w 1247775"/>
              <a:gd name="connsiteY837" fmla="*/ 1568291 h 1857375"/>
              <a:gd name="connsiteX838" fmla="*/ 352901 w 1247775"/>
              <a:gd name="connsiteY838" fmla="*/ 1565434 h 1857375"/>
              <a:gd name="connsiteX839" fmla="*/ 344329 w 1247775"/>
              <a:gd name="connsiteY839" fmla="*/ 1574006 h 1857375"/>
              <a:gd name="connsiteX840" fmla="*/ 346234 w 1247775"/>
              <a:gd name="connsiteY840" fmla="*/ 1578769 h 1857375"/>
              <a:gd name="connsiteX841" fmla="*/ 338614 w 1247775"/>
              <a:gd name="connsiteY841" fmla="*/ 1594961 h 1857375"/>
              <a:gd name="connsiteX842" fmla="*/ 357664 w 1247775"/>
              <a:gd name="connsiteY842" fmla="*/ 1615916 h 1857375"/>
              <a:gd name="connsiteX843" fmla="*/ 361474 w 1247775"/>
              <a:gd name="connsiteY843" fmla="*/ 1620679 h 1857375"/>
              <a:gd name="connsiteX844" fmla="*/ 375761 w 1247775"/>
              <a:gd name="connsiteY844" fmla="*/ 1637824 h 1857375"/>
              <a:gd name="connsiteX845" fmla="*/ 376714 w 1247775"/>
              <a:gd name="connsiteY845" fmla="*/ 1640681 h 1857375"/>
              <a:gd name="connsiteX846" fmla="*/ 355759 w 1247775"/>
              <a:gd name="connsiteY846" fmla="*/ 1662589 h 1857375"/>
              <a:gd name="connsiteX847" fmla="*/ 347186 w 1247775"/>
              <a:gd name="connsiteY847" fmla="*/ 1657826 h 1857375"/>
              <a:gd name="connsiteX848" fmla="*/ 358616 w 1247775"/>
              <a:gd name="connsiteY848" fmla="*/ 1637824 h 1857375"/>
              <a:gd name="connsiteX849" fmla="*/ 341471 w 1247775"/>
              <a:gd name="connsiteY849" fmla="*/ 1614964 h 1857375"/>
              <a:gd name="connsiteX850" fmla="*/ 324326 w 1247775"/>
              <a:gd name="connsiteY850" fmla="*/ 1589246 h 1857375"/>
              <a:gd name="connsiteX851" fmla="*/ 321469 w 1247775"/>
              <a:gd name="connsiteY851" fmla="*/ 1579721 h 1857375"/>
              <a:gd name="connsiteX852" fmla="*/ 322421 w 1247775"/>
              <a:gd name="connsiteY852" fmla="*/ 1575911 h 1857375"/>
              <a:gd name="connsiteX853" fmla="*/ 309086 w 1247775"/>
              <a:gd name="connsiteY853" fmla="*/ 1562576 h 1857375"/>
              <a:gd name="connsiteX854" fmla="*/ 306229 w 1247775"/>
              <a:gd name="connsiteY854" fmla="*/ 1562576 h 1857375"/>
              <a:gd name="connsiteX855" fmla="*/ 306229 w 1247775"/>
              <a:gd name="connsiteY855" fmla="*/ 1558766 h 1857375"/>
              <a:gd name="connsiteX856" fmla="*/ 305276 w 1247775"/>
              <a:gd name="connsiteY856" fmla="*/ 1552099 h 1857375"/>
              <a:gd name="connsiteX857" fmla="*/ 308134 w 1247775"/>
              <a:gd name="connsiteY857" fmla="*/ 1550194 h 1857375"/>
              <a:gd name="connsiteX858" fmla="*/ 316706 w 1247775"/>
              <a:gd name="connsiteY858" fmla="*/ 1554956 h 1857375"/>
              <a:gd name="connsiteX859" fmla="*/ 317659 w 1247775"/>
              <a:gd name="connsiteY859" fmla="*/ 1554956 h 1857375"/>
              <a:gd name="connsiteX860" fmla="*/ 316706 w 1247775"/>
              <a:gd name="connsiteY860" fmla="*/ 1558766 h 1857375"/>
              <a:gd name="connsiteX861" fmla="*/ 327184 w 1247775"/>
              <a:gd name="connsiteY861" fmla="*/ 1569244 h 1857375"/>
              <a:gd name="connsiteX862" fmla="*/ 337661 w 1247775"/>
              <a:gd name="connsiteY862" fmla="*/ 1558766 h 1857375"/>
              <a:gd name="connsiteX863" fmla="*/ 327184 w 1247775"/>
              <a:gd name="connsiteY863" fmla="*/ 1548289 h 1857375"/>
              <a:gd name="connsiteX864" fmla="*/ 326231 w 1247775"/>
              <a:gd name="connsiteY864" fmla="*/ 1548289 h 1857375"/>
              <a:gd name="connsiteX865" fmla="*/ 327184 w 1247775"/>
              <a:gd name="connsiteY865" fmla="*/ 1544479 h 1857375"/>
              <a:gd name="connsiteX866" fmla="*/ 316706 w 1247775"/>
              <a:gd name="connsiteY866" fmla="*/ 1534001 h 1857375"/>
              <a:gd name="connsiteX867" fmla="*/ 313849 w 1247775"/>
              <a:gd name="connsiteY867" fmla="*/ 1534954 h 1857375"/>
              <a:gd name="connsiteX868" fmla="*/ 312896 w 1247775"/>
              <a:gd name="connsiteY868" fmla="*/ 1533049 h 1857375"/>
              <a:gd name="connsiteX869" fmla="*/ 335756 w 1247775"/>
              <a:gd name="connsiteY869" fmla="*/ 1505426 h 1857375"/>
              <a:gd name="connsiteX870" fmla="*/ 331946 w 1247775"/>
              <a:gd name="connsiteY870" fmla="*/ 1492091 h 1857375"/>
              <a:gd name="connsiteX871" fmla="*/ 332899 w 1247775"/>
              <a:gd name="connsiteY871" fmla="*/ 1488281 h 1857375"/>
              <a:gd name="connsiteX872" fmla="*/ 324326 w 1247775"/>
              <a:gd name="connsiteY872" fmla="*/ 1479709 h 1857375"/>
              <a:gd name="connsiteX873" fmla="*/ 320516 w 1247775"/>
              <a:gd name="connsiteY873" fmla="*/ 1480661 h 1857375"/>
              <a:gd name="connsiteX874" fmla="*/ 308134 w 1247775"/>
              <a:gd name="connsiteY874" fmla="*/ 1477804 h 1857375"/>
              <a:gd name="connsiteX875" fmla="*/ 283369 w 1247775"/>
              <a:gd name="connsiteY875" fmla="*/ 1492091 h 1857375"/>
              <a:gd name="connsiteX876" fmla="*/ 279559 w 1247775"/>
              <a:gd name="connsiteY876" fmla="*/ 1491139 h 1857375"/>
              <a:gd name="connsiteX877" fmla="*/ 265271 w 1247775"/>
              <a:gd name="connsiteY877" fmla="*/ 1500664 h 1857375"/>
              <a:gd name="connsiteX878" fmla="*/ 258604 w 1247775"/>
              <a:gd name="connsiteY878" fmla="*/ 1508284 h 1857375"/>
              <a:gd name="connsiteX879" fmla="*/ 250031 w 1247775"/>
              <a:gd name="connsiteY879" fmla="*/ 1506379 h 1857375"/>
              <a:gd name="connsiteX880" fmla="*/ 231934 w 1247775"/>
              <a:gd name="connsiteY880" fmla="*/ 1524476 h 1857375"/>
              <a:gd name="connsiteX881" fmla="*/ 243364 w 1247775"/>
              <a:gd name="connsiteY881" fmla="*/ 1541621 h 1857375"/>
              <a:gd name="connsiteX882" fmla="*/ 242411 w 1247775"/>
              <a:gd name="connsiteY882" fmla="*/ 1543526 h 1857375"/>
              <a:gd name="connsiteX883" fmla="*/ 239554 w 1247775"/>
              <a:gd name="connsiteY883" fmla="*/ 1543526 h 1857375"/>
              <a:gd name="connsiteX884" fmla="*/ 225266 w 1247775"/>
              <a:gd name="connsiteY884" fmla="*/ 1548289 h 1857375"/>
              <a:gd name="connsiteX885" fmla="*/ 210026 w 1247775"/>
              <a:gd name="connsiteY885" fmla="*/ 1544479 h 1857375"/>
              <a:gd name="connsiteX886" fmla="*/ 189071 w 1247775"/>
              <a:gd name="connsiteY886" fmla="*/ 1553051 h 1857375"/>
              <a:gd name="connsiteX887" fmla="*/ 170974 w 1247775"/>
              <a:gd name="connsiteY887" fmla="*/ 1543526 h 1857375"/>
              <a:gd name="connsiteX888" fmla="*/ 162401 w 1247775"/>
              <a:gd name="connsiteY888" fmla="*/ 1545431 h 1857375"/>
              <a:gd name="connsiteX889" fmla="*/ 152876 w 1247775"/>
              <a:gd name="connsiteY889" fmla="*/ 1537811 h 1857375"/>
              <a:gd name="connsiteX890" fmla="*/ 143351 w 1247775"/>
              <a:gd name="connsiteY890" fmla="*/ 1547336 h 1857375"/>
              <a:gd name="connsiteX891" fmla="*/ 150971 w 1247775"/>
              <a:gd name="connsiteY891" fmla="*/ 1556861 h 1857375"/>
              <a:gd name="connsiteX892" fmla="*/ 149066 w 1247775"/>
              <a:gd name="connsiteY892" fmla="*/ 1566386 h 1857375"/>
              <a:gd name="connsiteX893" fmla="*/ 153829 w 1247775"/>
              <a:gd name="connsiteY893" fmla="*/ 1580674 h 1857375"/>
              <a:gd name="connsiteX894" fmla="*/ 143351 w 1247775"/>
              <a:gd name="connsiteY894" fmla="*/ 1593056 h 1857375"/>
              <a:gd name="connsiteX895" fmla="*/ 155734 w 1247775"/>
              <a:gd name="connsiteY895" fmla="*/ 1605439 h 1857375"/>
              <a:gd name="connsiteX896" fmla="*/ 168116 w 1247775"/>
              <a:gd name="connsiteY896" fmla="*/ 1593056 h 1857375"/>
              <a:gd name="connsiteX897" fmla="*/ 167164 w 1247775"/>
              <a:gd name="connsiteY897" fmla="*/ 1589246 h 1857375"/>
              <a:gd name="connsiteX898" fmla="*/ 170974 w 1247775"/>
              <a:gd name="connsiteY898" fmla="*/ 1589246 h 1857375"/>
              <a:gd name="connsiteX899" fmla="*/ 182404 w 1247775"/>
              <a:gd name="connsiteY899" fmla="*/ 1586389 h 1857375"/>
              <a:gd name="connsiteX900" fmla="*/ 184309 w 1247775"/>
              <a:gd name="connsiteY900" fmla="*/ 1589246 h 1857375"/>
              <a:gd name="connsiteX901" fmla="*/ 183356 w 1247775"/>
              <a:gd name="connsiteY901" fmla="*/ 1597819 h 1857375"/>
              <a:gd name="connsiteX902" fmla="*/ 195739 w 1247775"/>
              <a:gd name="connsiteY902" fmla="*/ 1620679 h 1857375"/>
              <a:gd name="connsiteX903" fmla="*/ 195739 w 1247775"/>
              <a:gd name="connsiteY903" fmla="*/ 1620679 h 1857375"/>
              <a:gd name="connsiteX904" fmla="*/ 201454 w 1247775"/>
              <a:gd name="connsiteY904" fmla="*/ 1626394 h 1857375"/>
              <a:gd name="connsiteX905" fmla="*/ 206216 w 1247775"/>
              <a:gd name="connsiteY905" fmla="*/ 1624489 h 1857375"/>
              <a:gd name="connsiteX906" fmla="*/ 210026 w 1247775"/>
              <a:gd name="connsiteY906" fmla="*/ 1624489 h 1857375"/>
              <a:gd name="connsiteX907" fmla="*/ 236696 w 1247775"/>
              <a:gd name="connsiteY907" fmla="*/ 1600676 h 1857375"/>
              <a:gd name="connsiteX908" fmla="*/ 249079 w 1247775"/>
              <a:gd name="connsiteY908" fmla="*/ 1604486 h 1857375"/>
              <a:gd name="connsiteX909" fmla="*/ 247174 w 1247775"/>
              <a:gd name="connsiteY909" fmla="*/ 1614011 h 1857375"/>
              <a:gd name="connsiteX910" fmla="*/ 248126 w 1247775"/>
              <a:gd name="connsiteY910" fmla="*/ 1619726 h 1857375"/>
              <a:gd name="connsiteX911" fmla="*/ 247174 w 1247775"/>
              <a:gd name="connsiteY911" fmla="*/ 1619726 h 1857375"/>
              <a:gd name="connsiteX912" fmla="*/ 233839 w 1247775"/>
              <a:gd name="connsiteY912" fmla="*/ 1633061 h 1857375"/>
              <a:gd name="connsiteX913" fmla="*/ 246221 w 1247775"/>
              <a:gd name="connsiteY913" fmla="*/ 1646396 h 1857375"/>
              <a:gd name="connsiteX914" fmla="*/ 258604 w 1247775"/>
              <a:gd name="connsiteY914" fmla="*/ 1657826 h 1857375"/>
              <a:gd name="connsiteX915" fmla="*/ 270986 w 1247775"/>
              <a:gd name="connsiteY915" fmla="*/ 1645444 h 1857375"/>
              <a:gd name="connsiteX916" fmla="*/ 268129 w 1247775"/>
              <a:gd name="connsiteY916" fmla="*/ 1637824 h 1857375"/>
              <a:gd name="connsiteX917" fmla="*/ 270034 w 1247775"/>
              <a:gd name="connsiteY917" fmla="*/ 1637824 h 1857375"/>
              <a:gd name="connsiteX918" fmla="*/ 281464 w 1247775"/>
              <a:gd name="connsiteY918" fmla="*/ 1634966 h 1857375"/>
              <a:gd name="connsiteX919" fmla="*/ 291941 w 1247775"/>
              <a:gd name="connsiteY919" fmla="*/ 1644491 h 1857375"/>
              <a:gd name="connsiteX920" fmla="*/ 290036 w 1247775"/>
              <a:gd name="connsiteY920" fmla="*/ 1651159 h 1857375"/>
              <a:gd name="connsiteX921" fmla="*/ 303371 w 1247775"/>
              <a:gd name="connsiteY921" fmla="*/ 1664494 h 1857375"/>
              <a:gd name="connsiteX922" fmla="*/ 312896 w 1247775"/>
              <a:gd name="connsiteY922" fmla="*/ 1660684 h 1857375"/>
              <a:gd name="connsiteX923" fmla="*/ 311944 w 1247775"/>
              <a:gd name="connsiteY923" fmla="*/ 1664494 h 1857375"/>
              <a:gd name="connsiteX924" fmla="*/ 324326 w 1247775"/>
              <a:gd name="connsiteY924" fmla="*/ 1676876 h 1857375"/>
              <a:gd name="connsiteX925" fmla="*/ 330041 w 1247775"/>
              <a:gd name="connsiteY925" fmla="*/ 1675924 h 1857375"/>
              <a:gd name="connsiteX926" fmla="*/ 342424 w 1247775"/>
              <a:gd name="connsiteY926" fmla="*/ 1683544 h 1857375"/>
              <a:gd name="connsiteX927" fmla="*/ 351949 w 1247775"/>
              <a:gd name="connsiteY927" fmla="*/ 1679734 h 1857375"/>
              <a:gd name="connsiteX928" fmla="*/ 360521 w 1247775"/>
              <a:gd name="connsiteY928" fmla="*/ 1694974 h 1857375"/>
              <a:gd name="connsiteX929" fmla="*/ 358616 w 1247775"/>
              <a:gd name="connsiteY929" fmla="*/ 1694974 h 1857375"/>
              <a:gd name="connsiteX930" fmla="*/ 348139 w 1247775"/>
              <a:gd name="connsiteY930" fmla="*/ 1705451 h 1857375"/>
              <a:gd name="connsiteX931" fmla="*/ 354806 w 1247775"/>
              <a:gd name="connsiteY931" fmla="*/ 1714976 h 1857375"/>
              <a:gd name="connsiteX932" fmla="*/ 345281 w 1247775"/>
              <a:gd name="connsiteY932" fmla="*/ 1729264 h 1857375"/>
              <a:gd name="connsiteX933" fmla="*/ 360521 w 1247775"/>
              <a:gd name="connsiteY933" fmla="*/ 1744504 h 1857375"/>
              <a:gd name="connsiteX934" fmla="*/ 375761 w 1247775"/>
              <a:gd name="connsiteY934" fmla="*/ 1729264 h 1857375"/>
              <a:gd name="connsiteX935" fmla="*/ 363379 w 1247775"/>
              <a:gd name="connsiteY935" fmla="*/ 1714024 h 1857375"/>
              <a:gd name="connsiteX936" fmla="*/ 368141 w 1247775"/>
              <a:gd name="connsiteY936" fmla="*/ 1705451 h 1857375"/>
              <a:gd name="connsiteX937" fmla="*/ 367189 w 1247775"/>
              <a:gd name="connsiteY937" fmla="*/ 1701641 h 1857375"/>
              <a:gd name="connsiteX938" fmla="*/ 374809 w 1247775"/>
              <a:gd name="connsiteY938" fmla="*/ 1704499 h 1857375"/>
              <a:gd name="connsiteX939" fmla="*/ 381476 w 1247775"/>
              <a:gd name="connsiteY939" fmla="*/ 1707356 h 1857375"/>
              <a:gd name="connsiteX940" fmla="*/ 385286 w 1247775"/>
              <a:gd name="connsiteY940" fmla="*/ 1706404 h 1857375"/>
              <a:gd name="connsiteX941" fmla="*/ 386239 w 1247775"/>
              <a:gd name="connsiteY941" fmla="*/ 1706404 h 1857375"/>
              <a:gd name="connsiteX942" fmla="*/ 416719 w 1247775"/>
              <a:gd name="connsiteY942" fmla="*/ 1688306 h 1857375"/>
              <a:gd name="connsiteX943" fmla="*/ 421481 w 1247775"/>
              <a:gd name="connsiteY943" fmla="*/ 1681639 h 1857375"/>
              <a:gd name="connsiteX944" fmla="*/ 420529 w 1247775"/>
              <a:gd name="connsiteY944" fmla="*/ 1678781 h 1857375"/>
              <a:gd name="connsiteX945" fmla="*/ 420529 w 1247775"/>
              <a:gd name="connsiteY945" fmla="*/ 1675924 h 1857375"/>
              <a:gd name="connsiteX946" fmla="*/ 433864 w 1247775"/>
              <a:gd name="connsiteY946" fmla="*/ 1679734 h 1857375"/>
              <a:gd name="connsiteX947" fmla="*/ 436721 w 1247775"/>
              <a:gd name="connsiteY947" fmla="*/ 1686401 h 1857375"/>
              <a:gd name="connsiteX948" fmla="*/ 415766 w 1247775"/>
              <a:gd name="connsiteY948" fmla="*/ 1702594 h 1857375"/>
              <a:gd name="connsiteX949" fmla="*/ 414814 w 1247775"/>
              <a:gd name="connsiteY949" fmla="*/ 1702594 h 1857375"/>
              <a:gd name="connsiteX950" fmla="*/ 409099 w 1247775"/>
              <a:gd name="connsiteY950" fmla="*/ 1708309 h 1857375"/>
              <a:gd name="connsiteX951" fmla="*/ 409099 w 1247775"/>
              <a:gd name="connsiteY951" fmla="*/ 1710214 h 1857375"/>
              <a:gd name="connsiteX952" fmla="*/ 407194 w 1247775"/>
              <a:gd name="connsiteY952" fmla="*/ 1711166 h 1857375"/>
              <a:gd name="connsiteX953" fmla="*/ 399574 w 1247775"/>
              <a:gd name="connsiteY953" fmla="*/ 1705451 h 1857375"/>
              <a:gd name="connsiteX954" fmla="*/ 391954 w 1247775"/>
              <a:gd name="connsiteY954" fmla="*/ 1713071 h 1857375"/>
              <a:gd name="connsiteX955" fmla="*/ 399574 w 1247775"/>
              <a:gd name="connsiteY955" fmla="*/ 1720691 h 1857375"/>
              <a:gd name="connsiteX956" fmla="*/ 400526 w 1247775"/>
              <a:gd name="connsiteY956" fmla="*/ 1720691 h 1857375"/>
              <a:gd name="connsiteX957" fmla="*/ 400526 w 1247775"/>
              <a:gd name="connsiteY957" fmla="*/ 1724501 h 1857375"/>
              <a:gd name="connsiteX958" fmla="*/ 401479 w 1247775"/>
              <a:gd name="connsiteY958" fmla="*/ 1729264 h 1857375"/>
              <a:gd name="connsiteX959" fmla="*/ 392906 w 1247775"/>
              <a:gd name="connsiteY959" fmla="*/ 1743551 h 1857375"/>
              <a:gd name="connsiteX960" fmla="*/ 394811 w 1247775"/>
              <a:gd name="connsiteY960" fmla="*/ 1752124 h 1857375"/>
              <a:gd name="connsiteX961" fmla="*/ 380524 w 1247775"/>
              <a:gd name="connsiteY961" fmla="*/ 1756886 h 1857375"/>
              <a:gd name="connsiteX962" fmla="*/ 367189 w 1247775"/>
              <a:gd name="connsiteY962" fmla="*/ 1751171 h 1857375"/>
              <a:gd name="connsiteX963" fmla="*/ 348139 w 1247775"/>
              <a:gd name="connsiteY963" fmla="*/ 1766411 h 1857375"/>
              <a:gd name="connsiteX964" fmla="*/ 347186 w 1247775"/>
              <a:gd name="connsiteY964" fmla="*/ 1767364 h 1857375"/>
              <a:gd name="connsiteX965" fmla="*/ 348139 w 1247775"/>
              <a:gd name="connsiteY965" fmla="*/ 1761649 h 1857375"/>
              <a:gd name="connsiteX966" fmla="*/ 333851 w 1247775"/>
              <a:gd name="connsiteY966" fmla="*/ 1747361 h 1857375"/>
              <a:gd name="connsiteX967" fmla="*/ 324326 w 1247775"/>
              <a:gd name="connsiteY967" fmla="*/ 1751171 h 1857375"/>
              <a:gd name="connsiteX968" fmla="*/ 298609 w 1247775"/>
              <a:gd name="connsiteY968" fmla="*/ 1736884 h 1857375"/>
              <a:gd name="connsiteX969" fmla="*/ 268129 w 1247775"/>
              <a:gd name="connsiteY969" fmla="*/ 1766411 h 1857375"/>
              <a:gd name="connsiteX970" fmla="*/ 263366 w 1247775"/>
              <a:gd name="connsiteY970" fmla="*/ 1767364 h 1857375"/>
              <a:gd name="connsiteX971" fmla="*/ 265271 w 1247775"/>
              <a:gd name="connsiteY971" fmla="*/ 1758791 h 1857375"/>
              <a:gd name="connsiteX972" fmla="*/ 238601 w 1247775"/>
              <a:gd name="connsiteY972" fmla="*/ 1732121 h 1857375"/>
              <a:gd name="connsiteX973" fmla="*/ 211931 w 1247775"/>
              <a:gd name="connsiteY973" fmla="*/ 1758791 h 1857375"/>
              <a:gd name="connsiteX974" fmla="*/ 212884 w 1247775"/>
              <a:gd name="connsiteY974" fmla="*/ 1764506 h 1857375"/>
              <a:gd name="connsiteX975" fmla="*/ 212884 w 1247775"/>
              <a:gd name="connsiteY975" fmla="*/ 1765459 h 1857375"/>
              <a:gd name="connsiteX976" fmla="*/ 214789 w 1247775"/>
              <a:gd name="connsiteY976" fmla="*/ 1773079 h 1857375"/>
              <a:gd name="connsiteX977" fmla="*/ 207169 w 1247775"/>
              <a:gd name="connsiteY977" fmla="*/ 1781651 h 1857375"/>
              <a:gd name="connsiteX978" fmla="*/ 208121 w 1247775"/>
              <a:gd name="connsiteY978" fmla="*/ 1784509 h 1857375"/>
              <a:gd name="connsiteX979" fmla="*/ 195739 w 1247775"/>
              <a:gd name="connsiteY979" fmla="*/ 1810226 h 1857375"/>
              <a:gd name="connsiteX980" fmla="*/ 230029 w 1247775"/>
              <a:gd name="connsiteY980" fmla="*/ 1847374 h 1857375"/>
              <a:gd name="connsiteX981" fmla="*/ 260509 w 1247775"/>
              <a:gd name="connsiteY981" fmla="*/ 1832134 h 1857375"/>
              <a:gd name="connsiteX982" fmla="*/ 260509 w 1247775"/>
              <a:gd name="connsiteY982" fmla="*/ 1834991 h 1857375"/>
              <a:gd name="connsiteX983" fmla="*/ 261461 w 1247775"/>
              <a:gd name="connsiteY983" fmla="*/ 1839754 h 1857375"/>
              <a:gd name="connsiteX984" fmla="*/ 257651 w 1247775"/>
              <a:gd name="connsiteY984" fmla="*/ 1844516 h 1857375"/>
              <a:gd name="connsiteX985" fmla="*/ 263366 w 1247775"/>
              <a:gd name="connsiteY985" fmla="*/ 1850231 h 1857375"/>
              <a:gd name="connsiteX986" fmla="*/ 267176 w 1247775"/>
              <a:gd name="connsiteY986" fmla="*/ 1848326 h 1857375"/>
              <a:gd name="connsiteX987" fmla="*/ 270986 w 1247775"/>
              <a:gd name="connsiteY987" fmla="*/ 1850231 h 1857375"/>
              <a:gd name="connsiteX988" fmla="*/ 279559 w 1247775"/>
              <a:gd name="connsiteY988" fmla="*/ 1855946 h 1857375"/>
              <a:gd name="connsiteX989" fmla="*/ 288131 w 1247775"/>
              <a:gd name="connsiteY989" fmla="*/ 1850231 h 1857375"/>
              <a:gd name="connsiteX990" fmla="*/ 300514 w 1247775"/>
              <a:gd name="connsiteY990" fmla="*/ 1854041 h 1857375"/>
              <a:gd name="connsiteX991" fmla="*/ 310039 w 1247775"/>
              <a:gd name="connsiteY991" fmla="*/ 1852136 h 1857375"/>
              <a:gd name="connsiteX992" fmla="*/ 329089 w 1247775"/>
              <a:gd name="connsiteY992" fmla="*/ 1834039 h 1857375"/>
              <a:gd name="connsiteX993" fmla="*/ 334804 w 1247775"/>
              <a:gd name="connsiteY993" fmla="*/ 1828324 h 1857375"/>
              <a:gd name="connsiteX994" fmla="*/ 337661 w 1247775"/>
              <a:gd name="connsiteY994" fmla="*/ 1828324 h 1857375"/>
              <a:gd name="connsiteX995" fmla="*/ 356711 w 1247775"/>
              <a:gd name="connsiteY995" fmla="*/ 1817846 h 1857375"/>
              <a:gd name="connsiteX996" fmla="*/ 368141 w 1247775"/>
              <a:gd name="connsiteY996" fmla="*/ 1819751 h 1857375"/>
              <a:gd name="connsiteX997" fmla="*/ 380524 w 1247775"/>
              <a:gd name="connsiteY997" fmla="*/ 1817846 h 1857375"/>
              <a:gd name="connsiteX998" fmla="*/ 400526 w 1247775"/>
              <a:gd name="connsiteY998" fmla="*/ 1823561 h 1857375"/>
              <a:gd name="connsiteX999" fmla="*/ 437674 w 1247775"/>
              <a:gd name="connsiteY999" fmla="*/ 1786414 h 1857375"/>
              <a:gd name="connsiteX1000" fmla="*/ 437674 w 1247775"/>
              <a:gd name="connsiteY1000" fmla="*/ 1786414 h 1857375"/>
              <a:gd name="connsiteX1001" fmla="*/ 441484 w 1247775"/>
              <a:gd name="connsiteY1001" fmla="*/ 1786414 h 1857375"/>
              <a:gd name="connsiteX1002" fmla="*/ 454819 w 1247775"/>
              <a:gd name="connsiteY1002" fmla="*/ 1782604 h 1857375"/>
              <a:gd name="connsiteX1003" fmla="*/ 461486 w 1247775"/>
              <a:gd name="connsiteY1003" fmla="*/ 1784509 h 1857375"/>
              <a:gd name="connsiteX1004" fmla="*/ 475774 w 1247775"/>
              <a:gd name="connsiteY1004" fmla="*/ 1770221 h 1857375"/>
              <a:gd name="connsiteX1005" fmla="*/ 472916 w 1247775"/>
              <a:gd name="connsiteY1005" fmla="*/ 1762601 h 1857375"/>
              <a:gd name="connsiteX1006" fmla="*/ 488156 w 1247775"/>
              <a:gd name="connsiteY1006" fmla="*/ 1753076 h 1857375"/>
              <a:gd name="connsiteX1007" fmla="*/ 493871 w 1247775"/>
              <a:gd name="connsiteY1007" fmla="*/ 1750219 h 1857375"/>
              <a:gd name="connsiteX1008" fmla="*/ 493871 w 1247775"/>
              <a:gd name="connsiteY1008" fmla="*/ 1751171 h 1857375"/>
              <a:gd name="connsiteX1009" fmla="*/ 525304 w 1247775"/>
              <a:gd name="connsiteY1009" fmla="*/ 1782604 h 1857375"/>
              <a:gd name="connsiteX1010" fmla="*/ 533876 w 1247775"/>
              <a:gd name="connsiteY1010" fmla="*/ 1780699 h 1857375"/>
              <a:gd name="connsiteX1011" fmla="*/ 550069 w 1247775"/>
              <a:gd name="connsiteY1011" fmla="*/ 1785461 h 1857375"/>
              <a:gd name="connsiteX1012" fmla="*/ 567214 w 1247775"/>
              <a:gd name="connsiteY1012" fmla="*/ 1779746 h 1857375"/>
              <a:gd name="connsiteX1013" fmla="*/ 575786 w 1247775"/>
              <a:gd name="connsiteY1013" fmla="*/ 1780699 h 1857375"/>
              <a:gd name="connsiteX1014" fmla="*/ 601504 w 1247775"/>
              <a:gd name="connsiteY1014" fmla="*/ 1769269 h 1857375"/>
              <a:gd name="connsiteX1015" fmla="*/ 604361 w 1247775"/>
              <a:gd name="connsiteY1015" fmla="*/ 1769269 h 1857375"/>
              <a:gd name="connsiteX1016" fmla="*/ 615791 w 1247775"/>
              <a:gd name="connsiteY1016" fmla="*/ 1767364 h 1857375"/>
              <a:gd name="connsiteX1017" fmla="*/ 651034 w 1247775"/>
              <a:gd name="connsiteY1017" fmla="*/ 1791176 h 1857375"/>
              <a:gd name="connsiteX1018" fmla="*/ 655796 w 1247775"/>
              <a:gd name="connsiteY1018" fmla="*/ 1791176 h 1857375"/>
              <a:gd name="connsiteX1019" fmla="*/ 705326 w 1247775"/>
              <a:gd name="connsiteY1019" fmla="*/ 1800701 h 1857375"/>
              <a:gd name="connsiteX1020" fmla="*/ 1004411 w 1247775"/>
              <a:gd name="connsiteY1020" fmla="*/ 1796891 h 1857375"/>
              <a:gd name="connsiteX1021" fmla="*/ 1087279 w 1247775"/>
              <a:gd name="connsiteY1021" fmla="*/ 1637824 h 1857375"/>
              <a:gd name="connsiteX1022" fmla="*/ 1076801 w 1247775"/>
              <a:gd name="connsiteY1022" fmla="*/ 1550194 h 1857375"/>
              <a:gd name="connsiteX1023" fmla="*/ 1153001 w 1247775"/>
              <a:gd name="connsiteY1023" fmla="*/ 1512094 h 1857375"/>
              <a:gd name="connsiteX1024" fmla="*/ 1149191 w 1247775"/>
              <a:gd name="connsiteY1024" fmla="*/ 1437799 h 1857375"/>
              <a:gd name="connsiteX1025" fmla="*/ 1078706 w 1247775"/>
              <a:gd name="connsiteY1025" fmla="*/ 1408271 h 1857375"/>
              <a:gd name="connsiteX1026" fmla="*/ 1161574 w 1247775"/>
              <a:gd name="connsiteY1026" fmla="*/ 1366361 h 1857375"/>
              <a:gd name="connsiteX1027" fmla="*/ 1186339 w 1247775"/>
              <a:gd name="connsiteY1027" fmla="*/ 1283494 h 1857375"/>
              <a:gd name="connsiteX1028" fmla="*/ 1138714 w 1247775"/>
              <a:gd name="connsiteY1028" fmla="*/ 1235869 h 1857375"/>
              <a:gd name="connsiteX1029" fmla="*/ 1159669 w 1247775"/>
              <a:gd name="connsiteY1029" fmla="*/ 1165384 h 1857375"/>
              <a:gd name="connsiteX1030" fmla="*/ 1240631 w 1247775"/>
              <a:gd name="connsiteY1030" fmla="*/ 1103471 h 1857375"/>
              <a:gd name="connsiteX1031" fmla="*/ 1172051 w 1247775"/>
              <a:gd name="connsiteY1031" fmla="*/ 974884 h 1857375"/>
              <a:gd name="connsiteX1032" fmla="*/ 584359 w 1247775"/>
              <a:gd name="connsiteY1032" fmla="*/ 250984 h 1857375"/>
              <a:gd name="connsiteX1033" fmla="*/ 581501 w 1247775"/>
              <a:gd name="connsiteY1033" fmla="*/ 252889 h 1857375"/>
              <a:gd name="connsiteX1034" fmla="*/ 572929 w 1247775"/>
              <a:gd name="connsiteY1034" fmla="*/ 250031 h 1857375"/>
              <a:gd name="connsiteX1035" fmla="*/ 571976 w 1247775"/>
              <a:gd name="connsiteY1035" fmla="*/ 250031 h 1857375"/>
              <a:gd name="connsiteX1036" fmla="*/ 570071 w 1247775"/>
              <a:gd name="connsiteY1036" fmla="*/ 249079 h 1857375"/>
              <a:gd name="connsiteX1037" fmla="*/ 570071 w 1247775"/>
              <a:gd name="connsiteY1037" fmla="*/ 246221 h 1857375"/>
              <a:gd name="connsiteX1038" fmla="*/ 570071 w 1247775"/>
              <a:gd name="connsiteY1038" fmla="*/ 243364 h 1857375"/>
              <a:gd name="connsiteX1039" fmla="*/ 585311 w 1247775"/>
              <a:gd name="connsiteY1039" fmla="*/ 234791 h 1857375"/>
              <a:gd name="connsiteX1040" fmla="*/ 595789 w 1247775"/>
              <a:gd name="connsiteY1040" fmla="*/ 244316 h 1857375"/>
              <a:gd name="connsiteX1041" fmla="*/ 584359 w 1247775"/>
              <a:gd name="connsiteY1041" fmla="*/ 250984 h 1857375"/>
              <a:gd name="connsiteX1042" fmla="*/ 596741 w 1247775"/>
              <a:gd name="connsiteY1042" fmla="*/ 201454 h 1857375"/>
              <a:gd name="connsiteX1043" fmla="*/ 596741 w 1247775"/>
              <a:gd name="connsiteY1043" fmla="*/ 198596 h 1857375"/>
              <a:gd name="connsiteX1044" fmla="*/ 598646 w 1247775"/>
              <a:gd name="connsiteY1044" fmla="*/ 199549 h 1857375"/>
              <a:gd name="connsiteX1045" fmla="*/ 596741 w 1247775"/>
              <a:gd name="connsiteY1045" fmla="*/ 201454 h 1857375"/>
              <a:gd name="connsiteX1046" fmla="*/ 606266 w 1247775"/>
              <a:gd name="connsiteY1046" fmla="*/ 250031 h 1857375"/>
              <a:gd name="connsiteX1047" fmla="*/ 602456 w 1247775"/>
              <a:gd name="connsiteY1047" fmla="*/ 245269 h 1857375"/>
              <a:gd name="connsiteX1048" fmla="*/ 605314 w 1247775"/>
              <a:gd name="connsiteY1048" fmla="*/ 245269 h 1857375"/>
              <a:gd name="connsiteX1049" fmla="*/ 609124 w 1247775"/>
              <a:gd name="connsiteY1049" fmla="*/ 245269 h 1857375"/>
              <a:gd name="connsiteX1050" fmla="*/ 606266 w 1247775"/>
              <a:gd name="connsiteY1050" fmla="*/ 250031 h 1857375"/>
              <a:gd name="connsiteX1051" fmla="*/ 557689 w 1247775"/>
              <a:gd name="connsiteY1051" fmla="*/ 407194 h 1857375"/>
              <a:gd name="connsiteX1052" fmla="*/ 555784 w 1247775"/>
              <a:gd name="connsiteY1052" fmla="*/ 407194 h 1857375"/>
              <a:gd name="connsiteX1053" fmla="*/ 555784 w 1247775"/>
              <a:gd name="connsiteY1053" fmla="*/ 405289 h 1857375"/>
              <a:gd name="connsiteX1054" fmla="*/ 554831 w 1247775"/>
              <a:gd name="connsiteY1054" fmla="*/ 400526 h 1857375"/>
              <a:gd name="connsiteX1055" fmla="*/ 559594 w 1247775"/>
              <a:gd name="connsiteY1055" fmla="*/ 407194 h 1857375"/>
              <a:gd name="connsiteX1056" fmla="*/ 557689 w 1247775"/>
              <a:gd name="connsiteY1056" fmla="*/ 407194 h 1857375"/>
              <a:gd name="connsiteX1057" fmla="*/ 637699 w 1247775"/>
              <a:gd name="connsiteY1057" fmla="*/ 305276 h 1857375"/>
              <a:gd name="connsiteX1058" fmla="*/ 641509 w 1247775"/>
              <a:gd name="connsiteY1058" fmla="*/ 309086 h 1857375"/>
              <a:gd name="connsiteX1059" fmla="*/ 638651 w 1247775"/>
              <a:gd name="connsiteY1059" fmla="*/ 310039 h 1857375"/>
              <a:gd name="connsiteX1060" fmla="*/ 636746 w 1247775"/>
              <a:gd name="connsiteY1060" fmla="*/ 306229 h 1857375"/>
              <a:gd name="connsiteX1061" fmla="*/ 637699 w 1247775"/>
              <a:gd name="connsiteY1061" fmla="*/ 305276 h 1857375"/>
              <a:gd name="connsiteX1062" fmla="*/ 591979 w 1247775"/>
              <a:gd name="connsiteY1062" fmla="*/ 417671 h 1857375"/>
              <a:gd name="connsiteX1063" fmla="*/ 609124 w 1247775"/>
              <a:gd name="connsiteY1063" fmla="*/ 409099 h 1857375"/>
              <a:gd name="connsiteX1064" fmla="*/ 606266 w 1247775"/>
              <a:gd name="connsiteY1064" fmla="*/ 418624 h 1857375"/>
              <a:gd name="connsiteX1065" fmla="*/ 606266 w 1247775"/>
              <a:gd name="connsiteY1065" fmla="*/ 418624 h 1857375"/>
              <a:gd name="connsiteX1066" fmla="*/ 598646 w 1247775"/>
              <a:gd name="connsiteY1066" fmla="*/ 426244 h 1857375"/>
              <a:gd name="connsiteX1067" fmla="*/ 591026 w 1247775"/>
              <a:gd name="connsiteY1067" fmla="*/ 420529 h 1857375"/>
              <a:gd name="connsiteX1068" fmla="*/ 591979 w 1247775"/>
              <a:gd name="connsiteY1068" fmla="*/ 417671 h 1857375"/>
              <a:gd name="connsiteX1069" fmla="*/ 594836 w 1247775"/>
              <a:gd name="connsiteY1069" fmla="*/ 511016 h 1857375"/>
              <a:gd name="connsiteX1070" fmla="*/ 591979 w 1247775"/>
              <a:gd name="connsiteY1070" fmla="*/ 510064 h 1857375"/>
              <a:gd name="connsiteX1071" fmla="*/ 590074 w 1247775"/>
              <a:gd name="connsiteY1071" fmla="*/ 510064 h 1857375"/>
              <a:gd name="connsiteX1072" fmla="*/ 587216 w 1247775"/>
              <a:gd name="connsiteY1072" fmla="*/ 508159 h 1857375"/>
              <a:gd name="connsiteX1073" fmla="*/ 597694 w 1247775"/>
              <a:gd name="connsiteY1073" fmla="*/ 503396 h 1857375"/>
              <a:gd name="connsiteX1074" fmla="*/ 598646 w 1247775"/>
              <a:gd name="connsiteY1074" fmla="*/ 505301 h 1857375"/>
              <a:gd name="connsiteX1075" fmla="*/ 594836 w 1247775"/>
              <a:gd name="connsiteY1075" fmla="*/ 511016 h 1857375"/>
              <a:gd name="connsiteX1076" fmla="*/ 633889 w 1247775"/>
              <a:gd name="connsiteY1076" fmla="*/ 447199 h 1857375"/>
              <a:gd name="connsiteX1077" fmla="*/ 627221 w 1247775"/>
              <a:gd name="connsiteY1077" fmla="*/ 461486 h 1857375"/>
              <a:gd name="connsiteX1078" fmla="*/ 626269 w 1247775"/>
              <a:gd name="connsiteY1078" fmla="*/ 461486 h 1857375"/>
              <a:gd name="connsiteX1079" fmla="*/ 608171 w 1247775"/>
              <a:gd name="connsiteY1079" fmla="*/ 479584 h 1857375"/>
              <a:gd name="connsiteX1080" fmla="*/ 609124 w 1247775"/>
              <a:gd name="connsiteY1080" fmla="*/ 484346 h 1857375"/>
              <a:gd name="connsiteX1081" fmla="*/ 608171 w 1247775"/>
              <a:gd name="connsiteY1081" fmla="*/ 485299 h 1857375"/>
              <a:gd name="connsiteX1082" fmla="*/ 608171 w 1247775"/>
              <a:gd name="connsiteY1082" fmla="*/ 483394 h 1857375"/>
              <a:gd name="connsiteX1083" fmla="*/ 593884 w 1247775"/>
              <a:gd name="connsiteY1083" fmla="*/ 459581 h 1857375"/>
              <a:gd name="connsiteX1084" fmla="*/ 606266 w 1247775"/>
              <a:gd name="connsiteY1084" fmla="*/ 444341 h 1857375"/>
              <a:gd name="connsiteX1085" fmla="*/ 614839 w 1247775"/>
              <a:gd name="connsiteY1085" fmla="*/ 447199 h 1857375"/>
              <a:gd name="connsiteX1086" fmla="*/ 626269 w 1247775"/>
              <a:gd name="connsiteY1086" fmla="*/ 440531 h 1857375"/>
              <a:gd name="connsiteX1087" fmla="*/ 630079 w 1247775"/>
              <a:gd name="connsiteY1087" fmla="*/ 440531 h 1857375"/>
              <a:gd name="connsiteX1088" fmla="*/ 631984 w 1247775"/>
              <a:gd name="connsiteY1088" fmla="*/ 440531 h 1857375"/>
              <a:gd name="connsiteX1089" fmla="*/ 636746 w 1247775"/>
              <a:gd name="connsiteY1089" fmla="*/ 444341 h 1857375"/>
              <a:gd name="connsiteX1090" fmla="*/ 633889 w 1247775"/>
              <a:gd name="connsiteY1090" fmla="*/ 447199 h 1857375"/>
              <a:gd name="connsiteX1091" fmla="*/ 633889 w 1247775"/>
              <a:gd name="connsiteY1091" fmla="*/ 447199 h 1857375"/>
              <a:gd name="connsiteX1092" fmla="*/ 639604 w 1247775"/>
              <a:gd name="connsiteY1092" fmla="*/ 402431 h 1857375"/>
              <a:gd name="connsiteX1093" fmla="*/ 631031 w 1247775"/>
              <a:gd name="connsiteY1093" fmla="*/ 399574 h 1857375"/>
              <a:gd name="connsiteX1094" fmla="*/ 625316 w 1247775"/>
              <a:gd name="connsiteY1094" fmla="*/ 391001 h 1857375"/>
              <a:gd name="connsiteX1095" fmla="*/ 626269 w 1247775"/>
              <a:gd name="connsiteY1095" fmla="*/ 388144 h 1857375"/>
              <a:gd name="connsiteX1096" fmla="*/ 620554 w 1247775"/>
              <a:gd name="connsiteY1096" fmla="*/ 382429 h 1857375"/>
              <a:gd name="connsiteX1097" fmla="*/ 619601 w 1247775"/>
              <a:gd name="connsiteY1097" fmla="*/ 374809 h 1857375"/>
              <a:gd name="connsiteX1098" fmla="*/ 625316 w 1247775"/>
              <a:gd name="connsiteY1098" fmla="*/ 375761 h 1857375"/>
              <a:gd name="connsiteX1099" fmla="*/ 631031 w 1247775"/>
              <a:gd name="connsiteY1099" fmla="*/ 373856 h 1857375"/>
              <a:gd name="connsiteX1100" fmla="*/ 642461 w 1247775"/>
              <a:gd name="connsiteY1100" fmla="*/ 380524 h 1857375"/>
              <a:gd name="connsiteX1101" fmla="*/ 647224 w 1247775"/>
              <a:gd name="connsiteY1101" fmla="*/ 394811 h 1857375"/>
              <a:gd name="connsiteX1102" fmla="*/ 639604 w 1247775"/>
              <a:gd name="connsiteY1102" fmla="*/ 402431 h 1857375"/>
              <a:gd name="connsiteX1103" fmla="*/ 343376 w 1247775"/>
              <a:gd name="connsiteY1103" fmla="*/ 758666 h 1857375"/>
              <a:gd name="connsiteX1104" fmla="*/ 343376 w 1247775"/>
              <a:gd name="connsiteY1104" fmla="*/ 758666 h 1857375"/>
              <a:gd name="connsiteX1105" fmla="*/ 341471 w 1247775"/>
              <a:gd name="connsiteY1105" fmla="*/ 751999 h 1857375"/>
              <a:gd name="connsiteX1106" fmla="*/ 346234 w 1247775"/>
              <a:gd name="connsiteY1106" fmla="*/ 752951 h 1857375"/>
              <a:gd name="connsiteX1107" fmla="*/ 343376 w 1247775"/>
              <a:gd name="connsiteY1107" fmla="*/ 758666 h 1857375"/>
              <a:gd name="connsiteX1108" fmla="*/ 109061 w 1247775"/>
              <a:gd name="connsiteY1108" fmla="*/ 1225391 h 1857375"/>
              <a:gd name="connsiteX1109" fmla="*/ 95726 w 1247775"/>
              <a:gd name="connsiteY1109" fmla="*/ 1217771 h 1857375"/>
              <a:gd name="connsiteX1110" fmla="*/ 104299 w 1247775"/>
              <a:gd name="connsiteY1110" fmla="*/ 1210151 h 1857375"/>
              <a:gd name="connsiteX1111" fmla="*/ 122396 w 1247775"/>
              <a:gd name="connsiteY1111" fmla="*/ 1195864 h 1857375"/>
              <a:gd name="connsiteX1112" fmla="*/ 129064 w 1247775"/>
              <a:gd name="connsiteY1112" fmla="*/ 1201579 h 1857375"/>
              <a:gd name="connsiteX1113" fmla="*/ 109061 w 1247775"/>
              <a:gd name="connsiteY1113" fmla="*/ 1225391 h 1857375"/>
              <a:gd name="connsiteX1114" fmla="*/ 151924 w 1247775"/>
              <a:gd name="connsiteY1114" fmla="*/ 1208246 h 1857375"/>
              <a:gd name="connsiteX1115" fmla="*/ 150019 w 1247775"/>
              <a:gd name="connsiteY1115" fmla="*/ 1206341 h 1857375"/>
              <a:gd name="connsiteX1116" fmla="*/ 151924 w 1247775"/>
              <a:gd name="connsiteY1116" fmla="*/ 1206341 h 1857375"/>
              <a:gd name="connsiteX1117" fmla="*/ 151924 w 1247775"/>
              <a:gd name="connsiteY1117" fmla="*/ 1208246 h 1857375"/>
              <a:gd name="connsiteX1118" fmla="*/ 290989 w 1247775"/>
              <a:gd name="connsiteY1118" fmla="*/ 992981 h 1857375"/>
              <a:gd name="connsiteX1119" fmla="*/ 291941 w 1247775"/>
              <a:gd name="connsiteY1119" fmla="*/ 986314 h 1857375"/>
              <a:gd name="connsiteX1120" fmla="*/ 291941 w 1247775"/>
              <a:gd name="connsiteY1120" fmla="*/ 986314 h 1857375"/>
              <a:gd name="connsiteX1121" fmla="*/ 294799 w 1247775"/>
              <a:gd name="connsiteY1121" fmla="*/ 987266 h 1857375"/>
              <a:gd name="connsiteX1122" fmla="*/ 290989 w 1247775"/>
              <a:gd name="connsiteY1122" fmla="*/ 992981 h 1857375"/>
              <a:gd name="connsiteX1123" fmla="*/ 309086 w 1247775"/>
              <a:gd name="connsiteY1123" fmla="*/ 1652111 h 1857375"/>
              <a:gd name="connsiteX1124" fmla="*/ 310039 w 1247775"/>
              <a:gd name="connsiteY1124" fmla="*/ 1649254 h 1857375"/>
              <a:gd name="connsiteX1125" fmla="*/ 310991 w 1247775"/>
              <a:gd name="connsiteY1125" fmla="*/ 1650206 h 1857375"/>
              <a:gd name="connsiteX1126" fmla="*/ 309086 w 1247775"/>
              <a:gd name="connsiteY1126" fmla="*/ 1652111 h 1857375"/>
              <a:gd name="connsiteX1127" fmla="*/ 259556 w 1247775"/>
              <a:gd name="connsiteY1127" fmla="*/ 1822609 h 1857375"/>
              <a:gd name="connsiteX1128" fmla="*/ 261461 w 1247775"/>
              <a:gd name="connsiteY1128" fmla="*/ 1816894 h 1857375"/>
              <a:gd name="connsiteX1129" fmla="*/ 265271 w 1247775"/>
              <a:gd name="connsiteY1129" fmla="*/ 1816894 h 1857375"/>
              <a:gd name="connsiteX1130" fmla="*/ 266224 w 1247775"/>
              <a:gd name="connsiteY1130" fmla="*/ 1817846 h 1857375"/>
              <a:gd name="connsiteX1131" fmla="*/ 259556 w 1247775"/>
              <a:gd name="connsiteY1131" fmla="*/ 1822609 h 1857375"/>
              <a:gd name="connsiteX1132" fmla="*/ 330994 w 1247775"/>
              <a:gd name="connsiteY1132" fmla="*/ 1783556 h 1857375"/>
              <a:gd name="connsiteX1133" fmla="*/ 329089 w 1247775"/>
              <a:gd name="connsiteY1133" fmla="*/ 1783556 h 1857375"/>
              <a:gd name="connsiteX1134" fmla="*/ 326231 w 1247775"/>
              <a:gd name="connsiteY1134" fmla="*/ 1781651 h 1857375"/>
              <a:gd name="connsiteX1135" fmla="*/ 321469 w 1247775"/>
              <a:gd name="connsiteY1135" fmla="*/ 1777841 h 1857375"/>
              <a:gd name="connsiteX1136" fmla="*/ 323374 w 1247775"/>
              <a:gd name="connsiteY1136" fmla="*/ 1772126 h 1857375"/>
              <a:gd name="connsiteX1137" fmla="*/ 329089 w 1247775"/>
              <a:gd name="connsiteY1137" fmla="*/ 1773079 h 1857375"/>
              <a:gd name="connsiteX1138" fmla="*/ 335756 w 1247775"/>
              <a:gd name="connsiteY1138" fmla="*/ 1771174 h 1857375"/>
              <a:gd name="connsiteX1139" fmla="*/ 330994 w 1247775"/>
              <a:gd name="connsiteY1139" fmla="*/ 1783556 h 1857375"/>
              <a:gd name="connsiteX1140" fmla="*/ 442436 w 1247775"/>
              <a:gd name="connsiteY1140" fmla="*/ 1450181 h 1857375"/>
              <a:gd name="connsiteX1141" fmla="*/ 451009 w 1247775"/>
              <a:gd name="connsiteY1141" fmla="*/ 1458754 h 1857375"/>
              <a:gd name="connsiteX1142" fmla="*/ 444341 w 1247775"/>
              <a:gd name="connsiteY1142" fmla="*/ 1465421 h 1857375"/>
              <a:gd name="connsiteX1143" fmla="*/ 437674 w 1247775"/>
              <a:gd name="connsiteY1143" fmla="*/ 1454944 h 1857375"/>
              <a:gd name="connsiteX1144" fmla="*/ 442436 w 1247775"/>
              <a:gd name="connsiteY1144" fmla="*/ 1450181 h 1857375"/>
              <a:gd name="connsiteX1145" fmla="*/ 426244 w 1247775"/>
              <a:gd name="connsiteY1145" fmla="*/ 1592104 h 1857375"/>
              <a:gd name="connsiteX1146" fmla="*/ 420529 w 1247775"/>
              <a:gd name="connsiteY1146" fmla="*/ 1587341 h 1857375"/>
              <a:gd name="connsiteX1147" fmla="*/ 419576 w 1247775"/>
              <a:gd name="connsiteY1147" fmla="*/ 1587341 h 1857375"/>
              <a:gd name="connsiteX1148" fmla="*/ 421481 w 1247775"/>
              <a:gd name="connsiteY1148" fmla="*/ 1576864 h 1857375"/>
              <a:gd name="connsiteX1149" fmla="*/ 421481 w 1247775"/>
              <a:gd name="connsiteY1149" fmla="*/ 1574959 h 1857375"/>
              <a:gd name="connsiteX1150" fmla="*/ 422434 w 1247775"/>
              <a:gd name="connsiteY1150" fmla="*/ 1574959 h 1857375"/>
              <a:gd name="connsiteX1151" fmla="*/ 426244 w 1247775"/>
              <a:gd name="connsiteY1151" fmla="*/ 1577816 h 1857375"/>
              <a:gd name="connsiteX1152" fmla="*/ 426244 w 1247775"/>
              <a:gd name="connsiteY1152" fmla="*/ 1580674 h 1857375"/>
              <a:gd name="connsiteX1153" fmla="*/ 430054 w 1247775"/>
              <a:gd name="connsiteY1153" fmla="*/ 1593056 h 1857375"/>
              <a:gd name="connsiteX1154" fmla="*/ 426244 w 1247775"/>
              <a:gd name="connsiteY1154" fmla="*/ 1592104 h 1857375"/>
              <a:gd name="connsiteX1155" fmla="*/ 431959 w 1247775"/>
              <a:gd name="connsiteY1155" fmla="*/ 1518761 h 1857375"/>
              <a:gd name="connsiteX1156" fmla="*/ 425291 w 1247775"/>
              <a:gd name="connsiteY1156" fmla="*/ 1517809 h 1857375"/>
              <a:gd name="connsiteX1157" fmla="*/ 415766 w 1247775"/>
              <a:gd name="connsiteY1157" fmla="*/ 1519714 h 1857375"/>
              <a:gd name="connsiteX1158" fmla="*/ 416719 w 1247775"/>
              <a:gd name="connsiteY1158" fmla="*/ 1515904 h 1857375"/>
              <a:gd name="connsiteX1159" fmla="*/ 413861 w 1247775"/>
              <a:gd name="connsiteY1159" fmla="*/ 1508284 h 1857375"/>
              <a:gd name="connsiteX1160" fmla="*/ 419576 w 1247775"/>
              <a:gd name="connsiteY1160" fmla="*/ 1499711 h 1857375"/>
              <a:gd name="connsiteX1161" fmla="*/ 418624 w 1247775"/>
              <a:gd name="connsiteY1161" fmla="*/ 1494949 h 1857375"/>
              <a:gd name="connsiteX1162" fmla="*/ 422434 w 1247775"/>
              <a:gd name="connsiteY1162" fmla="*/ 1486376 h 1857375"/>
              <a:gd name="connsiteX1163" fmla="*/ 422434 w 1247775"/>
              <a:gd name="connsiteY1163" fmla="*/ 1484471 h 1857375"/>
              <a:gd name="connsiteX1164" fmla="*/ 422434 w 1247775"/>
              <a:gd name="connsiteY1164" fmla="*/ 1484471 h 1857375"/>
              <a:gd name="connsiteX1165" fmla="*/ 431959 w 1247775"/>
              <a:gd name="connsiteY1165" fmla="*/ 1491139 h 1857375"/>
              <a:gd name="connsiteX1166" fmla="*/ 435769 w 1247775"/>
              <a:gd name="connsiteY1166" fmla="*/ 1490186 h 1857375"/>
              <a:gd name="connsiteX1167" fmla="*/ 436721 w 1247775"/>
              <a:gd name="connsiteY1167" fmla="*/ 1493044 h 1857375"/>
              <a:gd name="connsiteX1168" fmla="*/ 430054 w 1247775"/>
              <a:gd name="connsiteY1168" fmla="*/ 1505426 h 1857375"/>
              <a:gd name="connsiteX1169" fmla="*/ 434816 w 1247775"/>
              <a:gd name="connsiteY1169" fmla="*/ 1515904 h 1857375"/>
              <a:gd name="connsiteX1170" fmla="*/ 431959 w 1247775"/>
              <a:gd name="connsiteY1170" fmla="*/ 1518761 h 1857375"/>
              <a:gd name="connsiteX1171" fmla="*/ 445294 w 1247775"/>
              <a:gd name="connsiteY1171" fmla="*/ 1609249 h 1857375"/>
              <a:gd name="connsiteX1172" fmla="*/ 435769 w 1247775"/>
              <a:gd name="connsiteY1172" fmla="*/ 1603534 h 1857375"/>
              <a:gd name="connsiteX1173" fmla="*/ 435769 w 1247775"/>
              <a:gd name="connsiteY1173" fmla="*/ 1603534 h 1857375"/>
              <a:gd name="connsiteX1174" fmla="*/ 434816 w 1247775"/>
              <a:gd name="connsiteY1174" fmla="*/ 1598771 h 1857375"/>
              <a:gd name="connsiteX1175" fmla="*/ 449104 w 1247775"/>
              <a:gd name="connsiteY1175" fmla="*/ 1603534 h 1857375"/>
              <a:gd name="connsiteX1176" fmla="*/ 450056 w 1247775"/>
              <a:gd name="connsiteY1176" fmla="*/ 1603534 h 1857375"/>
              <a:gd name="connsiteX1177" fmla="*/ 451961 w 1247775"/>
              <a:gd name="connsiteY1177" fmla="*/ 1606391 h 1857375"/>
              <a:gd name="connsiteX1178" fmla="*/ 445294 w 1247775"/>
              <a:gd name="connsiteY1178" fmla="*/ 1609249 h 1857375"/>
              <a:gd name="connsiteX1179" fmla="*/ 452914 w 1247775"/>
              <a:gd name="connsiteY1179" fmla="*/ 1518761 h 1857375"/>
              <a:gd name="connsiteX1180" fmla="*/ 451961 w 1247775"/>
              <a:gd name="connsiteY1180" fmla="*/ 1517809 h 1857375"/>
              <a:gd name="connsiteX1181" fmla="*/ 452914 w 1247775"/>
              <a:gd name="connsiteY1181" fmla="*/ 1516856 h 1857375"/>
              <a:gd name="connsiteX1182" fmla="*/ 454819 w 1247775"/>
              <a:gd name="connsiteY1182" fmla="*/ 1517809 h 1857375"/>
              <a:gd name="connsiteX1183" fmla="*/ 452914 w 1247775"/>
              <a:gd name="connsiteY1183" fmla="*/ 1518761 h 1857375"/>
              <a:gd name="connsiteX1184" fmla="*/ 666274 w 1247775"/>
              <a:gd name="connsiteY1184" fmla="*/ 511969 h 1857375"/>
              <a:gd name="connsiteX1185" fmla="*/ 668179 w 1247775"/>
              <a:gd name="connsiteY1185" fmla="*/ 509111 h 1857375"/>
              <a:gd name="connsiteX1186" fmla="*/ 668179 w 1247775"/>
              <a:gd name="connsiteY1186" fmla="*/ 511969 h 1857375"/>
              <a:gd name="connsiteX1187" fmla="*/ 666274 w 1247775"/>
              <a:gd name="connsiteY1187" fmla="*/ 511969 h 1857375"/>
              <a:gd name="connsiteX1188" fmla="*/ 657701 w 1247775"/>
              <a:gd name="connsiteY1188" fmla="*/ 574834 h 1857375"/>
              <a:gd name="connsiteX1189" fmla="*/ 659606 w 1247775"/>
              <a:gd name="connsiteY1189" fmla="*/ 572929 h 1857375"/>
              <a:gd name="connsiteX1190" fmla="*/ 659606 w 1247775"/>
              <a:gd name="connsiteY1190" fmla="*/ 575786 h 1857375"/>
              <a:gd name="connsiteX1191" fmla="*/ 657701 w 1247775"/>
              <a:gd name="connsiteY1191" fmla="*/ 574834 h 1857375"/>
              <a:gd name="connsiteX1192" fmla="*/ 502444 w 1247775"/>
              <a:gd name="connsiteY1192" fmla="*/ 1197769 h 1857375"/>
              <a:gd name="connsiteX1193" fmla="*/ 507206 w 1247775"/>
              <a:gd name="connsiteY1193" fmla="*/ 1198721 h 1857375"/>
              <a:gd name="connsiteX1194" fmla="*/ 511969 w 1247775"/>
              <a:gd name="connsiteY1194" fmla="*/ 1197769 h 1857375"/>
              <a:gd name="connsiteX1195" fmla="*/ 529114 w 1247775"/>
              <a:gd name="connsiteY1195" fmla="*/ 1227296 h 1857375"/>
              <a:gd name="connsiteX1196" fmla="*/ 526256 w 1247775"/>
              <a:gd name="connsiteY1196" fmla="*/ 1230154 h 1857375"/>
              <a:gd name="connsiteX1197" fmla="*/ 524351 w 1247775"/>
              <a:gd name="connsiteY1197" fmla="*/ 1230154 h 1857375"/>
              <a:gd name="connsiteX1198" fmla="*/ 504349 w 1247775"/>
              <a:gd name="connsiteY1198" fmla="*/ 1220629 h 1857375"/>
              <a:gd name="connsiteX1199" fmla="*/ 503396 w 1247775"/>
              <a:gd name="connsiteY1199" fmla="*/ 1220629 h 1857375"/>
              <a:gd name="connsiteX1200" fmla="*/ 497681 w 1247775"/>
              <a:gd name="connsiteY1200" fmla="*/ 1213961 h 1857375"/>
              <a:gd name="connsiteX1201" fmla="*/ 504349 w 1247775"/>
              <a:gd name="connsiteY1201" fmla="*/ 1203484 h 1857375"/>
              <a:gd name="connsiteX1202" fmla="*/ 502444 w 1247775"/>
              <a:gd name="connsiteY1202" fmla="*/ 1197769 h 1857375"/>
              <a:gd name="connsiteX1203" fmla="*/ 574834 w 1247775"/>
              <a:gd name="connsiteY1203" fmla="*/ 1231106 h 1857375"/>
              <a:gd name="connsiteX1204" fmla="*/ 574834 w 1247775"/>
              <a:gd name="connsiteY1204" fmla="*/ 1231106 h 1857375"/>
              <a:gd name="connsiteX1205" fmla="*/ 579596 w 1247775"/>
              <a:gd name="connsiteY1205" fmla="*/ 1226344 h 1857375"/>
              <a:gd name="connsiteX1206" fmla="*/ 579596 w 1247775"/>
              <a:gd name="connsiteY1206" fmla="*/ 1229201 h 1857375"/>
              <a:gd name="connsiteX1207" fmla="*/ 574834 w 1247775"/>
              <a:gd name="connsiteY1207" fmla="*/ 1231106 h 1857375"/>
              <a:gd name="connsiteX1208" fmla="*/ 516731 w 1247775"/>
              <a:gd name="connsiteY1208" fmla="*/ 1371124 h 1857375"/>
              <a:gd name="connsiteX1209" fmla="*/ 518636 w 1247775"/>
              <a:gd name="connsiteY1209" fmla="*/ 1371124 h 1857375"/>
              <a:gd name="connsiteX1210" fmla="*/ 516731 w 1247775"/>
              <a:gd name="connsiteY1210" fmla="*/ 1373029 h 1857375"/>
              <a:gd name="connsiteX1211" fmla="*/ 516731 w 1247775"/>
              <a:gd name="connsiteY1211" fmla="*/ 1371124 h 1857375"/>
              <a:gd name="connsiteX1212" fmla="*/ 615791 w 1247775"/>
              <a:gd name="connsiteY1212" fmla="*/ 838676 h 1857375"/>
              <a:gd name="connsiteX1213" fmla="*/ 627221 w 1247775"/>
              <a:gd name="connsiteY1213" fmla="*/ 845344 h 1857375"/>
              <a:gd name="connsiteX1214" fmla="*/ 627221 w 1247775"/>
              <a:gd name="connsiteY1214" fmla="*/ 847249 h 1857375"/>
              <a:gd name="connsiteX1215" fmla="*/ 626269 w 1247775"/>
              <a:gd name="connsiteY1215" fmla="*/ 849154 h 1857375"/>
              <a:gd name="connsiteX1216" fmla="*/ 620554 w 1247775"/>
              <a:gd name="connsiteY1216" fmla="*/ 848201 h 1857375"/>
              <a:gd name="connsiteX1217" fmla="*/ 610076 w 1247775"/>
              <a:gd name="connsiteY1217" fmla="*/ 849154 h 1857375"/>
              <a:gd name="connsiteX1218" fmla="*/ 610076 w 1247775"/>
              <a:gd name="connsiteY1218" fmla="*/ 847249 h 1857375"/>
              <a:gd name="connsiteX1219" fmla="*/ 609124 w 1247775"/>
              <a:gd name="connsiteY1219" fmla="*/ 842486 h 1857375"/>
              <a:gd name="connsiteX1220" fmla="*/ 615791 w 1247775"/>
              <a:gd name="connsiteY1220" fmla="*/ 838676 h 1857375"/>
              <a:gd name="connsiteX1221" fmla="*/ 571024 w 1247775"/>
              <a:gd name="connsiteY1221" fmla="*/ 938689 h 1857375"/>
              <a:gd name="connsiteX1222" fmla="*/ 577691 w 1247775"/>
              <a:gd name="connsiteY1222" fmla="*/ 943451 h 1857375"/>
              <a:gd name="connsiteX1223" fmla="*/ 575786 w 1247775"/>
              <a:gd name="connsiteY1223" fmla="*/ 946309 h 1857375"/>
              <a:gd name="connsiteX1224" fmla="*/ 571024 w 1247775"/>
              <a:gd name="connsiteY1224" fmla="*/ 938689 h 1857375"/>
              <a:gd name="connsiteX1225" fmla="*/ 571024 w 1247775"/>
              <a:gd name="connsiteY1225" fmla="*/ 938689 h 1857375"/>
              <a:gd name="connsiteX1226" fmla="*/ 552926 w 1247775"/>
              <a:gd name="connsiteY1226" fmla="*/ 718661 h 1857375"/>
              <a:gd name="connsiteX1227" fmla="*/ 566261 w 1247775"/>
              <a:gd name="connsiteY1227" fmla="*/ 710089 h 1857375"/>
              <a:gd name="connsiteX1228" fmla="*/ 568166 w 1247775"/>
              <a:gd name="connsiteY1228" fmla="*/ 711041 h 1857375"/>
              <a:gd name="connsiteX1229" fmla="*/ 567214 w 1247775"/>
              <a:gd name="connsiteY1229" fmla="*/ 719614 h 1857375"/>
              <a:gd name="connsiteX1230" fmla="*/ 567214 w 1247775"/>
              <a:gd name="connsiteY1230" fmla="*/ 723424 h 1857375"/>
              <a:gd name="connsiteX1231" fmla="*/ 565309 w 1247775"/>
              <a:gd name="connsiteY1231" fmla="*/ 724376 h 1857375"/>
              <a:gd name="connsiteX1232" fmla="*/ 552926 w 1247775"/>
              <a:gd name="connsiteY1232" fmla="*/ 720566 h 1857375"/>
              <a:gd name="connsiteX1233" fmla="*/ 552926 w 1247775"/>
              <a:gd name="connsiteY1233" fmla="*/ 718661 h 1857375"/>
              <a:gd name="connsiteX1234" fmla="*/ 553879 w 1247775"/>
              <a:gd name="connsiteY1234" fmla="*/ 816769 h 1857375"/>
              <a:gd name="connsiteX1235" fmla="*/ 559594 w 1247775"/>
              <a:gd name="connsiteY1235" fmla="*/ 804386 h 1857375"/>
              <a:gd name="connsiteX1236" fmla="*/ 561499 w 1247775"/>
              <a:gd name="connsiteY1236" fmla="*/ 804386 h 1857375"/>
              <a:gd name="connsiteX1237" fmla="*/ 569119 w 1247775"/>
              <a:gd name="connsiteY1237" fmla="*/ 808196 h 1857375"/>
              <a:gd name="connsiteX1238" fmla="*/ 568166 w 1247775"/>
              <a:gd name="connsiteY1238" fmla="*/ 813911 h 1857375"/>
              <a:gd name="connsiteX1239" fmla="*/ 563404 w 1247775"/>
              <a:gd name="connsiteY1239" fmla="*/ 822484 h 1857375"/>
              <a:gd name="connsiteX1240" fmla="*/ 563404 w 1247775"/>
              <a:gd name="connsiteY1240" fmla="*/ 824389 h 1857375"/>
              <a:gd name="connsiteX1241" fmla="*/ 550069 w 1247775"/>
              <a:gd name="connsiteY1241" fmla="*/ 828199 h 1857375"/>
              <a:gd name="connsiteX1242" fmla="*/ 553879 w 1247775"/>
              <a:gd name="connsiteY1242" fmla="*/ 816769 h 1857375"/>
              <a:gd name="connsiteX1243" fmla="*/ 547211 w 1247775"/>
              <a:gd name="connsiteY1243" fmla="*/ 968216 h 1857375"/>
              <a:gd name="connsiteX1244" fmla="*/ 547211 w 1247775"/>
              <a:gd name="connsiteY1244" fmla="*/ 970121 h 1857375"/>
              <a:gd name="connsiteX1245" fmla="*/ 552926 w 1247775"/>
              <a:gd name="connsiteY1245" fmla="*/ 975836 h 1857375"/>
              <a:gd name="connsiteX1246" fmla="*/ 558641 w 1247775"/>
              <a:gd name="connsiteY1246" fmla="*/ 972026 h 1857375"/>
              <a:gd name="connsiteX1247" fmla="*/ 558641 w 1247775"/>
              <a:gd name="connsiteY1247" fmla="*/ 972026 h 1857375"/>
              <a:gd name="connsiteX1248" fmla="*/ 563404 w 1247775"/>
              <a:gd name="connsiteY1248" fmla="*/ 971074 h 1857375"/>
              <a:gd name="connsiteX1249" fmla="*/ 562451 w 1247775"/>
              <a:gd name="connsiteY1249" fmla="*/ 973931 h 1857375"/>
              <a:gd name="connsiteX1250" fmla="*/ 567214 w 1247775"/>
              <a:gd name="connsiteY1250" fmla="*/ 980599 h 1857375"/>
              <a:gd name="connsiteX1251" fmla="*/ 571024 w 1247775"/>
              <a:gd name="connsiteY1251" fmla="*/ 991076 h 1857375"/>
              <a:gd name="connsiteX1252" fmla="*/ 567214 w 1247775"/>
              <a:gd name="connsiteY1252" fmla="*/ 992029 h 1857375"/>
              <a:gd name="connsiteX1253" fmla="*/ 559594 w 1247775"/>
              <a:gd name="connsiteY1253" fmla="*/ 989171 h 1857375"/>
              <a:gd name="connsiteX1254" fmla="*/ 548164 w 1247775"/>
              <a:gd name="connsiteY1254" fmla="*/ 996791 h 1857375"/>
              <a:gd name="connsiteX1255" fmla="*/ 545306 w 1247775"/>
              <a:gd name="connsiteY1255" fmla="*/ 1001554 h 1857375"/>
              <a:gd name="connsiteX1256" fmla="*/ 536734 w 1247775"/>
              <a:gd name="connsiteY1256" fmla="*/ 994886 h 1857375"/>
              <a:gd name="connsiteX1257" fmla="*/ 537686 w 1247775"/>
              <a:gd name="connsiteY1257" fmla="*/ 992029 h 1857375"/>
              <a:gd name="connsiteX1258" fmla="*/ 531019 w 1247775"/>
              <a:gd name="connsiteY1258" fmla="*/ 985361 h 1857375"/>
              <a:gd name="connsiteX1259" fmla="*/ 524351 w 1247775"/>
              <a:gd name="connsiteY1259" fmla="*/ 992029 h 1857375"/>
              <a:gd name="connsiteX1260" fmla="*/ 524351 w 1247775"/>
              <a:gd name="connsiteY1260" fmla="*/ 993934 h 1857375"/>
              <a:gd name="connsiteX1261" fmla="*/ 511016 w 1247775"/>
              <a:gd name="connsiteY1261" fmla="*/ 1004411 h 1857375"/>
              <a:gd name="connsiteX1262" fmla="*/ 504349 w 1247775"/>
              <a:gd name="connsiteY1262" fmla="*/ 1000601 h 1857375"/>
              <a:gd name="connsiteX1263" fmla="*/ 503396 w 1247775"/>
              <a:gd name="connsiteY1263" fmla="*/ 1000601 h 1857375"/>
              <a:gd name="connsiteX1264" fmla="*/ 501491 w 1247775"/>
              <a:gd name="connsiteY1264" fmla="*/ 995839 h 1857375"/>
              <a:gd name="connsiteX1265" fmla="*/ 502444 w 1247775"/>
              <a:gd name="connsiteY1265" fmla="*/ 995839 h 1857375"/>
              <a:gd name="connsiteX1266" fmla="*/ 524351 w 1247775"/>
              <a:gd name="connsiteY1266" fmla="*/ 973931 h 1857375"/>
              <a:gd name="connsiteX1267" fmla="*/ 524351 w 1247775"/>
              <a:gd name="connsiteY1267" fmla="*/ 972979 h 1857375"/>
              <a:gd name="connsiteX1268" fmla="*/ 529114 w 1247775"/>
              <a:gd name="connsiteY1268" fmla="*/ 973931 h 1857375"/>
              <a:gd name="connsiteX1269" fmla="*/ 541496 w 1247775"/>
              <a:gd name="connsiteY1269" fmla="*/ 961549 h 1857375"/>
              <a:gd name="connsiteX1270" fmla="*/ 529114 w 1247775"/>
              <a:gd name="connsiteY1270" fmla="*/ 949166 h 1857375"/>
              <a:gd name="connsiteX1271" fmla="*/ 519589 w 1247775"/>
              <a:gd name="connsiteY1271" fmla="*/ 954881 h 1857375"/>
              <a:gd name="connsiteX1272" fmla="*/ 520541 w 1247775"/>
              <a:gd name="connsiteY1272" fmla="*/ 951071 h 1857375"/>
              <a:gd name="connsiteX1273" fmla="*/ 500539 w 1247775"/>
              <a:gd name="connsiteY1273" fmla="*/ 931069 h 1857375"/>
              <a:gd name="connsiteX1274" fmla="*/ 492919 w 1247775"/>
              <a:gd name="connsiteY1274" fmla="*/ 932974 h 1857375"/>
              <a:gd name="connsiteX1275" fmla="*/ 484346 w 1247775"/>
              <a:gd name="connsiteY1275" fmla="*/ 925354 h 1857375"/>
              <a:gd name="connsiteX1276" fmla="*/ 486251 w 1247775"/>
              <a:gd name="connsiteY1276" fmla="*/ 917734 h 1857375"/>
              <a:gd name="connsiteX1277" fmla="*/ 485299 w 1247775"/>
              <a:gd name="connsiteY1277" fmla="*/ 912971 h 1857375"/>
              <a:gd name="connsiteX1278" fmla="*/ 488156 w 1247775"/>
              <a:gd name="connsiteY1278" fmla="*/ 906304 h 1857375"/>
              <a:gd name="connsiteX1279" fmla="*/ 486251 w 1247775"/>
              <a:gd name="connsiteY1279" fmla="*/ 901541 h 1857375"/>
              <a:gd name="connsiteX1280" fmla="*/ 492919 w 1247775"/>
              <a:gd name="connsiteY1280" fmla="*/ 893921 h 1857375"/>
              <a:gd name="connsiteX1281" fmla="*/ 505301 w 1247775"/>
              <a:gd name="connsiteY1281" fmla="*/ 907256 h 1857375"/>
              <a:gd name="connsiteX1282" fmla="*/ 505301 w 1247775"/>
              <a:gd name="connsiteY1282" fmla="*/ 907256 h 1857375"/>
              <a:gd name="connsiteX1283" fmla="*/ 525304 w 1247775"/>
              <a:gd name="connsiteY1283" fmla="*/ 941546 h 1857375"/>
              <a:gd name="connsiteX1284" fmla="*/ 537686 w 1247775"/>
              <a:gd name="connsiteY1284" fmla="*/ 947261 h 1857375"/>
              <a:gd name="connsiteX1285" fmla="*/ 538639 w 1247775"/>
              <a:gd name="connsiteY1285" fmla="*/ 947261 h 1857375"/>
              <a:gd name="connsiteX1286" fmla="*/ 539591 w 1247775"/>
              <a:gd name="connsiteY1286" fmla="*/ 948214 h 1857375"/>
              <a:gd name="connsiteX1287" fmla="*/ 539591 w 1247775"/>
              <a:gd name="connsiteY1287" fmla="*/ 952024 h 1857375"/>
              <a:gd name="connsiteX1288" fmla="*/ 547211 w 1247775"/>
              <a:gd name="connsiteY1288" fmla="*/ 968216 h 1857375"/>
              <a:gd name="connsiteX1289" fmla="*/ 549116 w 1247775"/>
              <a:gd name="connsiteY1289" fmla="*/ 1032986 h 1857375"/>
              <a:gd name="connsiteX1290" fmla="*/ 536734 w 1247775"/>
              <a:gd name="connsiteY1290" fmla="*/ 1048226 h 1857375"/>
              <a:gd name="connsiteX1291" fmla="*/ 532924 w 1247775"/>
              <a:gd name="connsiteY1291" fmla="*/ 1048226 h 1857375"/>
              <a:gd name="connsiteX1292" fmla="*/ 531019 w 1247775"/>
              <a:gd name="connsiteY1292" fmla="*/ 1048226 h 1857375"/>
              <a:gd name="connsiteX1293" fmla="*/ 531019 w 1247775"/>
              <a:gd name="connsiteY1293" fmla="*/ 1047274 h 1857375"/>
              <a:gd name="connsiteX1294" fmla="*/ 535781 w 1247775"/>
              <a:gd name="connsiteY1294" fmla="*/ 1036796 h 1857375"/>
              <a:gd name="connsiteX1295" fmla="*/ 534829 w 1247775"/>
              <a:gd name="connsiteY1295" fmla="*/ 1032986 h 1857375"/>
              <a:gd name="connsiteX1296" fmla="*/ 547211 w 1247775"/>
              <a:gd name="connsiteY1296" fmla="*/ 1018699 h 1857375"/>
              <a:gd name="connsiteX1297" fmla="*/ 548164 w 1247775"/>
              <a:gd name="connsiteY1297" fmla="*/ 1019651 h 1857375"/>
              <a:gd name="connsiteX1298" fmla="*/ 547211 w 1247775"/>
              <a:gd name="connsiteY1298" fmla="*/ 1026319 h 1857375"/>
              <a:gd name="connsiteX1299" fmla="*/ 549116 w 1247775"/>
              <a:gd name="connsiteY1299" fmla="*/ 1032986 h 1857375"/>
              <a:gd name="connsiteX1300" fmla="*/ 506254 w 1247775"/>
              <a:gd name="connsiteY1300" fmla="*/ 814864 h 1857375"/>
              <a:gd name="connsiteX1301" fmla="*/ 497681 w 1247775"/>
              <a:gd name="connsiteY1301" fmla="*/ 812959 h 1857375"/>
              <a:gd name="connsiteX1302" fmla="*/ 497681 w 1247775"/>
              <a:gd name="connsiteY1302" fmla="*/ 812959 h 1857375"/>
              <a:gd name="connsiteX1303" fmla="*/ 507206 w 1247775"/>
              <a:gd name="connsiteY1303" fmla="*/ 806291 h 1857375"/>
              <a:gd name="connsiteX1304" fmla="*/ 509111 w 1247775"/>
              <a:gd name="connsiteY1304" fmla="*/ 805339 h 1857375"/>
              <a:gd name="connsiteX1305" fmla="*/ 509111 w 1247775"/>
              <a:gd name="connsiteY1305" fmla="*/ 806291 h 1857375"/>
              <a:gd name="connsiteX1306" fmla="*/ 506254 w 1247775"/>
              <a:gd name="connsiteY1306" fmla="*/ 812959 h 1857375"/>
              <a:gd name="connsiteX1307" fmla="*/ 506254 w 1247775"/>
              <a:gd name="connsiteY1307" fmla="*/ 814864 h 1857375"/>
              <a:gd name="connsiteX1308" fmla="*/ 521494 w 1247775"/>
              <a:gd name="connsiteY1308" fmla="*/ 822484 h 1857375"/>
              <a:gd name="connsiteX1309" fmla="*/ 536734 w 1247775"/>
              <a:gd name="connsiteY1309" fmla="*/ 832961 h 1857375"/>
              <a:gd name="connsiteX1310" fmla="*/ 543401 w 1247775"/>
              <a:gd name="connsiteY1310" fmla="*/ 832009 h 1857375"/>
              <a:gd name="connsiteX1311" fmla="*/ 536734 w 1247775"/>
              <a:gd name="connsiteY1311" fmla="*/ 842486 h 1857375"/>
              <a:gd name="connsiteX1312" fmla="*/ 533876 w 1247775"/>
              <a:gd name="connsiteY1312" fmla="*/ 842486 h 1857375"/>
              <a:gd name="connsiteX1313" fmla="*/ 517684 w 1247775"/>
              <a:gd name="connsiteY1313" fmla="*/ 854869 h 1857375"/>
              <a:gd name="connsiteX1314" fmla="*/ 517684 w 1247775"/>
              <a:gd name="connsiteY1314" fmla="*/ 854869 h 1857375"/>
              <a:gd name="connsiteX1315" fmla="*/ 515779 w 1247775"/>
              <a:gd name="connsiteY1315" fmla="*/ 854869 h 1857375"/>
              <a:gd name="connsiteX1316" fmla="*/ 522446 w 1247775"/>
              <a:gd name="connsiteY1316" fmla="*/ 838676 h 1857375"/>
              <a:gd name="connsiteX1317" fmla="*/ 514826 w 1247775"/>
              <a:gd name="connsiteY1317" fmla="*/ 820579 h 1857375"/>
              <a:gd name="connsiteX1318" fmla="*/ 516731 w 1247775"/>
              <a:gd name="connsiteY1318" fmla="*/ 819626 h 1857375"/>
              <a:gd name="connsiteX1319" fmla="*/ 521494 w 1247775"/>
              <a:gd name="connsiteY1319" fmla="*/ 822484 h 1857375"/>
              <a:gd name="connsiteX1320" fmla="*/ 487204 w 1247775"/>
              <a:gd name="connsiteY1320" fmla="*/ 723424 h 1857375"/>
              <a:gd name="connsiteX1321" fmla="*/ 490061 w 1247775"/>
              <a:gd name="connsiteY1321" fmla="*/ 728186 h 1857375"/>
              <a:gd name="connsiteX1322" fmla="*/ 486251 w 1247775"/>
              <a:gd name="connsiteY1322" fmla="*/ 731996 h 1857375"/>
              <a:gd name="connsiteX1323" fmla="*/ 487204 w 1247775"/>
              <a:gd name="connsiteY1323" fmla="*/ 723424 h 1857375"/>
              <a:gd name="connsiteX1324" fmla="*/ 487204 w 1247775"/>
              <a:gd name="connsiteY1324" fmla="*/ 723424 h 1857375"/>
              <a:gd name="connsiteX1325" fmla="*/ 362426 w 1247775"/>
              <a:gd name="connsiteY1325" fmla="*/ 708184 h 1857375"/>
              <a:gd name="connsiteX1326" fmla="*/ 380524 w 1247775"/>
              <a:gd name="connsiteY1326" fmla="*/ 695801 h 1857375"/>
              <a:gd name="connsiteX1327" fmla="*/ 383381 w 1247775"/>
              <a:gd name="connsiteY1327" fmla="*/ 694849 h 1857375"/>
              <a:gd name="connsiteX1328" fmla="*/ 392906 w 1247775"/>
              <a:gd name="connsiteY1328" fmla="*/ 705326 h 1857375"/>
              <a:gd name="connsiteX1329" fmla="*/ 371951 w 1247775"/>
              <a:gd name="connsiteY1329" fmla="*/ 726281 h 1857375"/>
              <a:gd name="connsiteX1330" fmla="*/ 360521 w 1247775"/>
              <a:gd name="connsiteY1330" fmla="*/ 708184 h 1857375"/>
              <a:gd name="connsiteX1331" fmla="*/ 362426 w 1247775"/>
              <a:gd name="connsiteY1331" fmla="*/ 708184 h 1857375"/>
              <a:gd name="connsiteX1332" fmla="*/ 453866 w 1247775"/>
              <a:gd name="connsiteY1332" fmla="*/ 781526 h 1857375"/>
              <a:gd name="connsiteX1333" fmla="*/ 443389 w 1247775"/>
              <a:gd name="connsiteY1333" fmla="*/ 791051 h 1857375"/>
              <a:gd name="connsiteX1334" fmla="*/ 450056 w 1247775"/>
              <a:gd name="connsiteY1334" fmla="*/ 800576 h 1857375"/>
              <a:gd name="connsiteX1335" fmla="*/ 438626 w 1247775"/>
              <a:gd name="connsiteY1335" fmla="*/ 809149 h 1857375"/>
              <a:gd name="connsiteX1336" fmla="*/ 419576 w 1247775"/>
              <a:gd name="connsiteY1336" fmla="*/ 830104 h 1857375"/>
              <a:gd name="connsiteX1337" fmla="*/ 425291 w 1247775"/>
              <a:gd name="connsiteY1337" fmla="*/ 844391 h 1857375"/>
              <a:gd name="connsiteX1338" fmla="*/ 423386 w 1247775"/>
              <a:gd name="connsiteY1338" fmla="*/ 846296 h 1857375"/>
              <a:gd name="connsiteX1339" fmla="*/ 404336 w 1247775"/>
              <a:gd name="connsiteY1339" fmla="*/ 832009 h 1857375"/>
              <a:gd name="connsiteX1340" fmla="*/ 394811 w 1247775"/>
              <a:gd name="connsiteY1340" fmla="*/ 828199 h 1857375"/>
              <a:gd name="connsiteX1341" fmla="*/ 386239 w 1247775"/>
              <a:gd name="connsiteY1341" fmla="*/ 831056 h 1857375"/>
              <a:gd name="connsiteX1342" fmla="*/ 368141 w 1247775"/>
              <a:gd name="connsiteY1342" fmla="*/ 842486 h 1857375"/>
              <a:gd name="connsiteX1343" fmla="*/ 363379 w 1247775"/>
              <a:gd name="connsiteY1343" fmla="*/ 837724 h 1857375"/>
              <a:gd name="connsiteX1344" fmla="*/ 357664 w 1247775"/>
              <a:gd name="connsiteY1344" fmla="*/ 826294 h 1857375"/>
              <a:gd name="connsiteX1345" fmla="*/ 370046 w 1247775"/>
              <a:gd name="connsiteY1345" fmla="*/ 807244 h 1857375"/>
              <a:gd name="connsiteX1346" fmla="*/ 372904 w 1247775"/>
              <a:gd name="connsiteY1346" fmla="*/ 807244 h 1857375"/>
              <a:gd name="connsiteX1347" fmla="*/ 388144 w 1247775"/>
              <a:gd name="connsiteY1347" fmla="*/ 803434 h 1857375"/>
              <a:gd name="connsiteX1348" fmla="*/ 385286 w 1247775"/>
              <a:gd name="connsiteY1348" fmla="*/ 811054 h 1857375"/>
              <a:gd name="connsiteX1349" fmla="*/ 397669 w 1247775"/>
              <a:gd name="connsiteY1349" fmla="*/ 823436 h 1857375"/>
              <a:gd name="connsiteX1350" fmla="*/ 410051 w 1247775"/>
              <a:gd name="connsiteY1350" fmla="*/ 811054 h 1857375"/>
              <a:gd name="connsiteX1351" fmla="*/ 397669 w 1247775"/>
              <a:gd name="connsiteY1351" fmla="*/ 798671 h 1857375"/>
              <a:gd name="connsiteX1352" fmla="*/ 394811 w 1247775"/>
              <a:gd name="connsiteY1352" fmla="*/ 799624 h 1857375"/>
              <a:gd name="connsiteX1353" fmla="*/ 398621 w 1247775"/>
              <a:gd name="connsiteY1353" fmla="*/ 795814 h 1857375"/>
              <a:gd name="connsiteX1354" fmla="*/ 416719 w 1247775"/>
              <a:gd name="connsiteY1354" fmla="*/ 787241 h 1857375"/>
              <a:gd name="connsiteX1355" fmla="*/ 424339 w 1247775"/>
              <a:gd name="connsiteY1355" fmla="*/ 788194 h 1857375"/>
              <a:gd name="connsiteX1356" fmla="*/ 456724 w 1247775"/>
              <a:gd name="connsiteY1356" fmla="*/ 759619 h 1857375"/>
              <a:gd name="connsiteX1357" fmla="*/ 460534 w 1247775"/>
              <a:gd name="connsiteY1357" fmla="*/ 759619 h 1857375"/>
              <a:gd name="connsiteX1358" fmla="*/ 482441 w 1247775"/>
              <a:gd name="connsiteY1358" fmla="*/ 743426 h 1857375"/>
              <a:gd name="connsiteX1359" fmla="*/ 498634 w 1247775"/>
              <a:gd name="connsiteY1359" fmla="*/ 757714 h 1857375"/>
              <a:gd name="connsiteX1360" fmla="*/ 514826 w 1247775"/>
              <a:gd name="connsiteY1360" fmla="*/ 742474 h 1857375"/>
              <a:gd name="connsiteX1361" fmla="*/ 515779 w 1247775"/>
              <a:gd name="connsiteY1361" fmla="*/ 742474 h 1857375"/>
              <a:gd name="connsiteX1362" fmla="*/ 513874 w 1247775"/>
              <a:gd name="connsiteY1362" fmla="*/ 751999 h 1857375"/>
              <a:gd name="connsiteX1363" fmla="*/ 513874 w 1247775"/>
              <a:gd name="connsiteY1363" fmla="*/ 755809 h 1857375"/>
              <a:gd name="connsiteX1364" fmla="*/ 509111 w 1247775"/>
              <a:gd name="connsiteY1364" fmla="*/ 768191 h 1857375"/>
              <a:gd name="connsiteX1365" fmla="*/ 514826 w 1247775"/>
              <a:gd name="connsiteY1365" fmla="*/ 781526 h 1857375"/>
              <a:gd name="connsiteX1366" fmla="*/ 510064 w 1247775"/>
              <a:gd name="connsiteY1366" fmla="*/ 788194 h 1857375"/>
              <a:gd name="connsiteX1367" fmla="*/ 501491 w 1247775"/>
              <a:gd name="connsiteY1367" fmla="*/ 783431 h 1857375"/>
              <a:gd name="connsiteX1368" fmla="*/ 491966 w 1247775"/>
              <a:gd name="connsiteY1368" fmla="*/ 780574 h 1857375"/>
              <a:gd name="connsiteX1369" fmla="*/ 490061 w 1247775"/>
              <a:gd name="connsiteY1369" fmla="*/ 780574 h 1857375"/>
              <a:gd name="connsiteX1370" fmla="*/ 490061 w 1247775"/>
              <a:gd name="connsiteY1370" fmla="*/ 779621 h 1857375"/>
              <a:gd name="connsiteX1371" fmla="*/ 477679 w 1247775"/>
              <a:gd name="connsiteY1371" fmla="*/ 767239 h 1857375"/>
              <a:gd name="connsiteX1372" fmla="*/ 465296 w 1247775"/>
              <a:gd name="connsiteY1372" fmla="*/ 779621 h 1857375"/>
              <a:gd name="connsiteX1373" fmla="*/ 471011 w 1247775"/>
              <a:gd name="connsiteY1373" fmla="*/ 790099 h 1857375"/>
              <a:gd name="connsiteX1374" fmla="*/ 458629 w 1247775"/>
              <a:gd name="connsiteY1374" fmla="*/ 799624 h 1857375"/>
              <a:gd name="connsiteX1375" fmla="*/ 457676 w 1247775"/>
              <a:gd name="connsiteY1375" fmla="*/ 799624 h 1857375"/>
              <a:gd name="connsiteX1376" fmla="*/ 462439 w 1247775"/>
              <a:gd name="connsiteY1376" fmla="*/ 791051 h 1857375"/>
              <a:gd name="connsiteX1377" fmla="*/ 453866 w 1247775"/>
              <a:gd name="connsiteY1377" fmla="*/ 781526 h 1857375"/>
              <a:gd name="connsiteX1378" fmla="*/ 481489 w 1247775"/>
              <a:gd name="connsiteY1378" fmla="*/ 946309 h 1857375"/>
              <a:gd name="connsiteX1379" fmla="*/ 480536 w 1247775"/>
              <a:gd name="connsiteY1379" fmla="*/ 951071 h 1857375"/>
              <a:gd name="connsiteX1380" fmla="*/ 470059 w 1247775"/>
              <a:gd name="connsiteY1380" fmla="*/ 936784 h 1857375"/>
              <a:gd name="connsiteX1381" fmla="*/ 473869 w 1247775"/>
              <a:gd name="connsiteY1381" fmla="*/ 935831 h 1857375"/>
              <a:gd name="connsiteX1382" fmla="*/ 473869 w 1247775"/>
              <a:gd name="connsiteY1382" fmla="*/ 935831 h 1857375"/>
              <a:gd name="connsiteX1383" fmla="*/ 481489 w 1247775"/>
              <a:gd name="connsiteY1383" fmla="*/ 946309 h 1857375"/>
              <a:gd name="connsiteX1384" fmla="*/ 345281 w 1247775"/>
              <a:gd name="connsiteY1384" fmla="*/ 1095851 h 1857375"/>
              <a:gd name="connsiteX1385" fmla="*/ 345281 w 1247775"/>
              <a:gd name="connsiteY1385" fmla="*/ 1095851 h 1857375"/>
              <a:gd name="connsiteX1386" fmla="*/ 345281 w 1247775"/>
              <a:gd name="connsiteY1386" fmla="*/ 1095851 h 1857375"/>
              <a:gd name="connsiteX1387" fmla="*/ 345281 w 1247775"/>
              <a:gd name="connsiteY1387" fmla="*/ 1095851 h 1857375"/>
              <a:gd name="connsiteX1388" fmla="*/ 423386 w 1247775"/>
              <a:gd name="connsiteY1388" fmla="*/ 1187291 h 1857375"/>
              <a:gd name="connsiteX1389" fmla="*/ 421481 w 1247775"/>
              <a:gd name="connsiteY1389" fmla="*/ 1188244 h 1857375"/>
              <a:gd name="connsiteX1390" fmla="*/ 423386 w 1247775"/>
              <a:gd name="connsiteY1390" fmla="*/ 1181576 h 1857375"/>
              <a:gd name="connsiteX1391" fmla="*/ 426244 w 1247775"/>
              <a:gd name="connsiteY1391" fmla="*/ 1182529 h 1857375"/>
              <a:gd name="connsiteX1392" fmla="*/ 430054 w 1247775"/>
              <a:gd name="connsiteY1392" fmla="*/ 1185386 h 1857375"/>
              <a:gd name="connsiteX1393" fmla="*/ 423386 w 1247775"/>
              <a:gd name="connsiteY1393" fmla="*/ 1187291 h 1857375"/>
              <a:gd name="connsiteX1394" fmla="*/ 432911 w 1247775"/>
              <a:gd name="connsiteY1394" fmla="*/ 1183481 h 1857375"/>
              <a:gd name="connsiteX1395" fmla="*/ 432911 w 1247775"/>
              <a:gd name="connsiteY1395" fmla="*/ 1183481 h 1857375"/>
              <a:gd name="connsiteX1396" fmla="*/ 432911 w 1247775"/>
              <a:gd name="connsiteY1396" fmla="*/ 1183481 h 1857375"/>
              <a:gd name="connsiteX1397" fmla="*/ 432911 w 1247775"/>
              <a:gd name="connsiteY1397" fmla="*/ 1183481 h 1857375"/>
              <a:gd name="connsiteX1398" fmla="*/ 455771 w 1247775"/>
              <a:gd name="connsiteY1398" fmla="*/ 1106329 h 1857375"/>
              <a:gd name="connsiteX1399" fmla="*/ 443389 w 1247775"/>
              <a:gd name="connsiteY1399" fmla="*/ 1117759 h 1857375"/>
              <a:gd name="connsiteX1400" fmla="*/ 433864 w 1247775"/>
              <a:gd name="connsiteY1400" fmla="*/ 1115854 h 1857375"/>
              <a:gd name="connsiteX1401" fmla="*/ 400526 w 1247775"/>
              <a:gd name="connsiteY1401" fmla="*/ 1149191 h 1857375"/>
              <a:gd name="connsiteX1402" fmla="*/ 403384 w 1247775"/>
              <a:gd name="connsiteY1402" fmla="*/ 1162526 h 1857375"/>
              <a:gd name="connsiteX1403" fmla="*/ 387191 w 1247775"/>
              <a:gd name="connsiteY1403" fmla="*/ 1179671 h 1857375"/>
              <a:gd name="connsiteX1404" fmla="*/ 394811 w 1247775"/>
              <a:gd name="connsiteY1404" fmla="*/ 1193959 h 1857375"/>
              <a:gd name="connsiteX1405" fmla="*/ 389096 w 1247775"/>
              <a:gd name="connsiteY1405" fmla="*/ 1206341 h 1857375"/>
              <a:gd name="connsiteX1406" fmla="*/ 399574 w 1247775"/>
              <a:gd name="connsiteY1406" fmla="*/ 1221581 h 1857375"/>
              <a:gd name="connsiteX1407" fmla="*/ 409099 w 1247775"/>
              <a:gd name="connsiteY1407" fmla="*/ 1231106 h 1857375"/>
              <a:gd name="connsiteX1408" fmla="*/ 392906 w 1247775"/>
              <a:gd name="connsiteY1408" fmla="*/ 1250156 h 1857375"/>
              <a:gd name="connsiteX1409" fmla="*/ 390049 w 1247775"/>
              <a:gd name="connsiteY1409" fmla="*/ 1251109 h 1857375"/>
              <a:gd name="connsiteX1410" fmla="*/ 388144 w 1247775"/>
              <a:gd name="connsiteY1410" fmla="*/ 1245394 h 1857375"/>
              <a:gd name="connsiteX1411" fmla="*/ 390049 w 1247775"/>
              <a:gd name="connsiteY1411" fmla="*/ 1241584 h 1857375"/>
              <a:gd name="connsiteX1412" fmla="*/ 396716 w 1247775"/>
              <a:gd name="connsiteY1412" fmla="*/ 1230154 h 1857375"/>
              <a:gd name="connsiteX1413" fmla="*/ 388144 w 1247775"/>
              <a:gd name="connsiteY1413" fmla="*/ 1217771 h 1857375"/>
              <a:gd name="connsiteX1414" fmla="*/ 378619 w 1247775"/>
              <a:gd name="connsiteY1414" fmla="*/ 1207294 h 1857375"/>
              <a:gd name="connsiteX1415" fmla="*/ 362426 w 1247775"/>
              <a:gd name="connsiteY1415" fmla="*/ 1199674 h 1857375"/>
              <a:gd name="connsiteX1416" fmla="*/ 343376 w 1247775"/>
              <a:gd name="connsiteY1416" fmla="*/ 1212056 h 1857375"/>
              <a:gd name="connsiteX1417" fmla="*/ 339566 w 1247775"/>
              <a:gd name="connsiteY1417" fmla="*/ 1216819 h 1857375"/>
              <a:gd name="connsiteX1418" fmla="*/ 316706 w 1247775"/>
              <a:gd name="connsiteY1418" fmla="*/ 1233964 h 1857375"/>
              <a:gd name="connsiteX1419" fmla="*/ 315754 w 1247775"/>
              <a:gd name="connsiteY1419" fmla="*/ 1231106 h 1857375"/>
              <a:gd name="connsiteX1420" fmla="*/ 315754 w 1247775"/>
              <a:gd name="connsiteY1420" fmla="*/ 1229201 h 1857375"/>
              <a:gd name="connsiteX1421" fmla="*/ 310991 w 1247775"/>
              <a:gd name="connsiteY1421" fmla="*/ 1213961 h 1857375"/>
              <a:gd name="connsiteX1422" fmla="*/ 331946 w 1247775"/>
              <a:gd name="connsiteY1422" fmla="*/ 1186339 h 1857375"/>
              <a:gd name="connsiteX1423" fmla="*/ 316706 w 1247775"/>
              <a:gd name="connsiteY1423" fmla="*/ 1161574 h 1857375"/>
              <a:gd name="connsiteX1424" fmla="*/ 316706 w 1247775"/>
              <a:gd name="connsiteY1424" fmla="*/ 1160621 h 1857375"/>
              <a:gd name="connsiteX1425" fmla="*/ 320516 w 1247775"/>
              <a:gd name="connsiteY1425" fmla="*/ 1156811 h 1857375"/>
              <a:gd name="connsiteX1426" fmla="*/ 323374 w 1247775"/>
              <a:gd name="connsiteY1426" fmla="*/ 1157764 h 1857375"/>
              <a:gd name="connsiteX1427" fmla="*/ 322421 w 1247775"/>
              <a:gd name="connsiteY1427" fmla="*/ 1160621 h 1857375"/>
              <a:gd name="connsiteX1428" fmla="*/ 328136 w 1247775"/>
              <a:gd name="connsiteY1428" fmla="*/ 1166336 h 1857375"/>
              <a:gd name="connsiteX1429" fmla="*/ 330041 w 1247775"/>
              <a:gd name="connsiteY1429" fmla="*/ 1166336 h 1857375"/>
              <a:gd name="connsiteX1430" fmla="*/ 335756 w 1247775"/>
              <a:gd name="connsiteY1430" fmla="*/ 1168241 h 1857375"/>
              <a:gd name="connsiteX1431" fmla="*/ 346234 w 1247775"/>
              <a:gd name="connsiteY1431" fmla="*/ 1157764 h 1857375"/>
              <a:gd name="connsiteX1432" fmla="*/ 345281 w 1247775"/>
              <a:gd name="connsiteY1432" fmla="*/ 1153954 h 1857375"/>
              <a:gd name="connsiteX1433" fmla="*/ 353854 w 1247775"/>
              <a:gd name="connsiteY1433" fmla="*/ 1146334 h 1857375"/>
              <a:gd name="connsiteX1434" fmla="*/ 366236 w 1247775"/>
              <a:gd name="connsiteY1434" fmla="*/ 1151096 h 1857375"/>
              <a:gd name="connsiteX1435" fmla="*/ 382429 w 1247775"/>
              <a:gd name="connsiteY1435" fmla="*/ 1140619 h 1857375"/>
              <a:gd name="connsiteX1436" fmla="*/ 386239 w 1247775"/>
              <a:gd name="connsiteY1436" fmla="*/ 1142524 h 1857375"/>
              <a:gd name="connsiteX1437" fmla="*/ 391001 w 1247775"/>
              <a:gd name="connsiteY1437" fmla="*/ 1137761 h 1857375"/>
              <a:gd name="connsiteX1438" fmla="*/ 386239 w 1247775"/>
              <a:gd name="connsiteY1438" fmla="*/ 1132999 h 1857375"/>
              <a:gd name="connsiteX1439" fmla="*/ 384334 w 1247775"/>
              <a:gd name="connsiteY1439" fmla="*/ 1133951 h 1857375"/>
              <a:gd name="connsiteX1440" fmla="*/ 384334 w 1247775"/>
              <a:gd name="connsiteY1440" fmla="*/ 1133951 h 1857375"/>
              <a:gd name="connsiteX1441" fmla="*/ 383381 w 1247775"/>
              <a:gd name="connsiteY1441" fmla="*/ 1129189 h 1857375"/>
              <a:gd name="connsiteX1442" fmla="*/ 385286 w 1247775"/>
              <a:gd name="connsiteY1442" fmla="*/ 1122521 h 1857375"/>
              <a:gd name="connsiteX1443" fmla="*/ 378619 w 1247775"/>
              <a:gd name="connsiteY1443" fmla="*/ 1109186 h 1857375"/>
              <a:gd name="connsiteX1444" fmla="*/ 388144 w 1247775"/>
              <a:gd name="connsiteY1444" fmla="*/ 1101566 h 1857375"/>
              <a:gd name="connsiteX1445" fmla="*/ 390049 w 1247775"/>
              <a:gd name="connsiteY1445" fmla="*/ 1100614 h 1857375"/>
              <a:gd name="connsiteX1446" fmla="*/ 411004 w 1247775"/>
              <a:gd name="connsiteY1446" fmla="*/ 1113949 h 1857375"/>
              <a:gd name="connsiteX1447" fmla="*/ 434816 w 1247775"/>
              <a:gd name="connsiteY1447" fmla="*/ 1090136 h 1857375"/>
              <a:gd name="connsiteX1448" fmla="*/ 433864 w 1247775"/>
              <a:gd name="connsiteY1448" fmla="*/ 1083469 h 1857375"/>
              <a:gd name="connsiteX1449" fmla="*/ 443389 w 1247775"/>
              <a:gd name="connsiteY1449" fmla="*/ 1086326 h 1857375"/>
              <a:gd name="connsiteX1450" fmla="*/ 442436 w 1247775"/>
              <a:gd name="connsiteY1450" fmla="*/ 1090136 h 1857375"/>
              <a:gd name="connsiteX1451" fmla="*/ 450056 w 1247775"/>
              <a:gd name="connsiteY1451" fmla="*/ 1097756 h 1857375"/>
              <a:gd name="connsiteX1452" fmla="*/ 457676 w 1247775"/>
              <a:gd name="connsiteY1452" fmla="*/ 1090136 h 1857375"/>
              <a:gd name="connsiteX1453" fmla="*/ 454819 w 1247775"/>
              <a:gd name="connsiteY1453" fmla="*/ 1084421 h 1857375"/>
              <a:gd name="connsiteX1454" fmla="*/ 466249 w 1247775"/>
              <a:gd name="connsiteY1454" fmla="*/ 1073944 h 1857375"/>
              <a:gd name="connsiteX1455" fmla="*/ 473869 w 1247775"/>
              <a:gd name="connsiteY1455" fmla="*/ 1076801 h 1857375"/>
              <a:gd name="connsiteX1456" fmla="*/ 479584 w 1247775"/>
              <a:gd name="connsiteY1456" fmla="*/ 1074896 h 1857375"/>
              <a:gd name="connsiteX1457" fmla="*/ 480536 w 1247775"/>
              <a:gd name="connsiteY1457" fmla="*/ 1075849 h 1857375"/>
              <a:gd name="connsiteX1458" fmla="*/ 491014 w 1247775"/>
              <a:gd name="connsiteY1458" fmla="*/ 1085374 h 1857375"/>
              <a:gd name="connsiteX1459" fmla="*/ 500539 w 1247775"/>
              <a:gd name="connsiteY1459" fmla="*/ 1078706 h 1857375"/>
              <a:gd name="connsiteX1460" fmla="*/ 505301 w 1247775"/>
              <a:gd name="connsiteY1460" fmla="*/ 1077754 h 1857375"/>
              <a:gd name="connsiteX1461" fmla="*/ 515779 w 1247775"/>
              <a:gd name="connsiteY1461" fmla="*/ 1084421 h 1857375"/>
              <a:gd name="connsiteX1462" fmla="*/ 518636 w 1247775"/>
              <a:gd name="connsiteY1462" fmla="*/ 1083469 h 1857375"/>
              <a:gd name="connsiteX1463" fmla="*/ 521494 w 1247775"/>
              <a:gd name="connsiteY1463" fmla="*/ 1087279 h 1857375"/>
              <a:gd name="connsiteX1464" fmla="*/ 521494 w 1247775"/>
              <a:gd name="connsiteY1464" fmla="*/ 1090136 h 1857375"/>
              <a:gd name="connsiteX1465" fmla="*/ 538639 w 1247775"/>
              <a:gd name="connsiteY1465" fmla="*/ 1107281 h 1857375"/>
              <a:gd name="connsiteX1466" fmla="*/ 549116 w 1247775"/>
              <a:gd name="connsiteY1466" fmla="*/ 1103471 h 1857375"/>
              <a:gd name="connsiteX1467" fmla="*/ 553879 w 1247775"/>
              <a:gd name="connsiteY1467" fmla="*/ 1106329 h 1857375"/>
              <a:gd name="connsiteX1468" fmla="*/ 563404 w 1247775"/>
              <a:gd name="connsiteY1468" fmla="*/ 1113949 h 1857375"/>
              <a:gd name="connsiteX1469" fmla="*/ 559594 w 1247775"/>
              <a:gd name="connsiteY1469" fmla="*/ 1118711 h 1857375"/>
              <a:gd name="connsiteX1470" fmla="*/ 557689 w 1247775"/>
              <a:gd name="connsiteY1470" fmla="*/ 1118711 h 1857375"/>
              <a:gd name="connsiteX1471" fmla="*/ 547211 w 1247775"/>
              <a:gd name="connsiteY1471" fmla="*/ 1120616 h 1857375"/>
              <a:gd name="connsiteX1472" fmla="*/ 542449 w 1247775"/>
              <a:gd name="connsiteY1472" fmla="*/ 1118711 h 1857375"/>
              <a:gd name="connsiteX1473" fmla="*/ 538639 w 1247775"/>
              <a:gd name="connsiteY1473" fmla="*/ 1119664 h 1857375"/>
              <a:gd name="connsiteX1474" fmla="*/ 518636 w 1247775"/>
              <a:gd name="connsiteY1474" fmla="*/ 1104424 h 1857375"/>
              <a:gd name="connsiteX1475" fmla="*/ 486251 w 1247775"/>
              <a:gd name="connsiteY1475" fmla="*/ 1087279 h 1857375"/>
              <a:gd name="connsiteX1476" fmla="*/ 455771 w 1247775"/>
              <a:gd name="connsiteY1476" fmla="*/ 1106329 h 1857375"/>
              <a:gd name="connsiteX1477" fmla="*/ 483394 w 1247775"/>
              <a:gd name="connsiteY1477" fmla="*/ 1196816 h 1857375"/>
              <a:gd name="connsiteX1478" fmla="*/ 469106 w 1247775"/>
              <a:gd name="connsiteY1478" fmla="*/ 1192054 h 1857375"/>
              <a:gd name="connsiteX1479" fmla="*/ 465296 w 1247775"/>
              <a:gd name="connsiteY1479" fmla="*/ 1192054 h 1857375"/>
              <a:gd name="connsiteX1480" fmla="*/ 462439 w 1247775"/>
              <a:gd name="connsiteY1480" fmla="*/ 1189196 h 1857375"/>
              <a:gd name="connsiteX1481" fmla="*/ 466249 w 1247775"/>
              <a:gd name="connsiteY1481" fmla="*/ 1178719 h 1857375"/>
              <a:gd name="connsiteX1482" fmla="*/ 462439 w 1247775"/>
              <a:gd name="connsiteY1482" fmla="*/ 1167289 h 1857375"/>
              <a:gd name="connsiteX1483" fmla="*/ 462439 w 1247775"/>
              <a:gd name="connsiteY1483" fmla="*/ 1167289 h 1857375"/>
              <a:gd name="connsiteX1484" fmla="*/ 475774 w 1247775"/>
              <a:gd name="connsiteY1484" fmla="*/ 1170146 h 1857375"/>
              <a:gd name="connsiteX1485" fmla="*/ 491014 w 1247775"/>
              <a:gd name="connsiteY1485" fmla="*/ 1165384 h 1857375"/>
              <a:gd name="connsiteX1486" fmla="*/ 502444 w 1247775"/>
              <a:gd name="connsiteY1486" fmla="*/ 1162526 h 1857375"/>
              <a:gd name="connsiteX1487" fmla="*/ 507206 w 1247775"/>
              <a:gd name="connsiteY1487" fmla="*/ 1165384 h 1857375"/>
              <a:gd name="connsiteX1488" fmla="*/ 513874 w 1247775"/>
              <a:gd name="connsiteY1488" fmla="*/ 1158716 h 1857375"/>
              <a:gd name="connsiteX1489" fmla="*/ 512921 w 1247775"/>
              <a:gd name="connsiteY1489" fmla="*/ 1155859 h 1857375"/>
              <a:gd name="connsiteX1490" fmla="*/ 517684 w 1247775"/>
              <a:gd name="connsiteY1490" fmla="*/ 1150144 h 1857375"/>
              <a:gd name="connsiteX1491" fmla="*/ 525304 w 1247775"/>
              <a:gd name="connsiteY1491" fmla="*/ 1153001 h 1857375"/>
              <a:gd name="connsiteX1492" fmla="*/ 528161 w 1247775"/>
              <a:gd name="connsiteY1492" fmla="*/ 1152049 h 1857375"/>
              <a:gd name="connsiteX1493" fmla="*/ 526256 w 1247775"/>
              <a:gd name="connsiteY1493" fmla="*/ 1160621 h 1857375"/>
              <a:gd name="connsiteX1494" fmla="*/ 526256 w 1247775"/>
              <a:gd name="connsiteY1494" fmla="*/ 1161574 h 1857375"/>
              <a:gd name="connsiteX1495" fmla="*/ 514826 w 1247775"/>
              <a:gd name="connsiteY1495" fmla="*/ 1177766 h 1857375"/>
              <a:gd name="connsiteX1496" fmla="*/ 507206 w 1247775"/>
              <a:gd name="connsiteY1496" fmla="*/ 1174909 h 1857375"/>
              <a:gd name="connsiteX1497" fmla="*/ 495776 w 1247775"/>
              <a:gd name="connsiteY1497" fmla="*/ 1186339 h 1857375"/>
              <a:gd name="connsiteX1498" fmla="*/ 497681 w 1247775"/>
              <a:gd name="connsiteY1498" fmla="*/ 1192054 h 1857375"/>
              <a:gd name="connsiteX1499" fmla="*/ 491966 w 1247775"/>
              <a:gd name="connsiteY1499" fmla="*/ 1190149 h 1857375"/>
              <a:gd name="connsiteX1500" fmla="*/ 483394 w 1247775"/>
              <a:gd name="connsiteY1500" fmla="*/ 1196816 h 1857375"/>
              <a:gd name="connsiteX1501" fmla="*/ 507206 w 1247775"/>
              <a:gd name="connsiteY1501" fmla="*/ 1716881 h 1857375"/>
              <a:gd name="connsiteX1502" fmla="*/ 506254 w 1247775"/>
              <a:gd name="connsiteY1502" fmla="*/ 1714976 h 1857375"/>
              <a:gd name="connsiteX1503" fmla="*/ 508159 w 1247775"/>
              <a:gd name="connsiteY1503" fmla="*/ 1714976 h 1857375"/>
              <a:gd name="connsiteX1504" fmla="*/ 510064 w 1247775"/>
              <a:gd name="connsiteY1504" fmla="*/ 1714976 h 1857375"/>
              <a:gd name="connsiteX1505" fmla="*/ 510064 w 1247775"/>
              <a:gd name="connsiteY1505" fmla="*/ 1714976 h 1857375"/>
              <a:gd name="connsiteX1506" fmla="*/ 507206 w 1247775"/>
              <a:gd name="connsiteY1506" fmla="*/ 1716881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Lst>
            <a:rect l="l" t="t" r="r" b="b"/>
            <a:pathLst>
              <a:path w="1247775" h="1857375">
                <a:moveTo>
                  <a:pt x="1172051" y="974884"/>
                </a:moveTo>
                <a:cubicBezTo>
                  <a:pt x="1133951" y="944404"/>
                  <a:pt x="1065371" y="835819"/>
                  <a:pt x="1037749" y="787241"/>
                </a:cubicBezTo>
                <a:lnTo>
                  <a:pt x="1026319" y="764381"/>
                </a:lnTo>
                <a:cubicBezTo>
                  <a:pt x="1025366" y="760571"/>
                  <a:pt x="1024414" y="755809"/>
                  <a:pt x="1023461" y="751046"/>
                </a:cubicBezTo>
                <a:cubicBezTo>
                  <a:pt x="1024414" y="751046"/>
                  <a:pt x="1024414" y="750094"/>
                  <a:pt x="1024414" y="750094"/>
                </a:cubicBezTo>
                <a:cubicBezTo>
                  <a:pt x="1024414" y="748189"/>
                  <a:pt x="1025366" y="746284"/>
                  <a:pt x="1025366" y="744379"/>
                </a:cubicBezTo>
                <a:cubicBezTo>
                  <a:pt x="1025366" y="739616"/>
                  <a:pt x="1024414" y="735806"/>
                  <a:pt x="1022509" y="731996"/>
                </a:cubicBezTo>
                <a:cubicBezTo>
                  <a:pt x="1021556" y="691039"/>
                  <a:pt x="1032986" y="639604"/>
                  <a:pt x="1037749" y="609124"/>
                </a:cubicBezTo>
                <a:cubicBezTo>
                  <a:pt x="1041559" y="583406"/>
                  <a:pt x="1035844" y="532924"/>
                  <a:pt x="1025366" y="473869"/>
                </a:cubicBezTo>
                <a:cubicBezTo>
                  <a:pt x="1025366" y="473869"/>
                  <a:pt x="1025366" y="472916"/>
                  <a:pt x="1025366" y="472916"/>
                </a:cubicBezTo>
                <a:cubicBezTo>
                  <a:pt x="1025366" y="469106"/>
                  <a:pt x="1024414" y="466249"/>
                  <a:pt x="1023461" y="463391"/>
                </a:cubicBezTo>
                <a:cubicBezTo>
                  <a:pt x="1022509" y="459581"/>
                  <a:pt x="1021556" y="454819"/>
                  <a:pt x="1020604" y="450056"/>
                </a:cubicBezTo>
                <a:cubicBezTo>
                  <a:pt x="1021556" y="447199"/>
                  <a:pt x="1021556" y="445294"/>
                  <a:pt x="1021556" y="442436"/>
                </a:cubicBezTo>
                <a:cubicBezTo>
                  <a:pt x="1021556" y="435769"/>
                  <a:pt x="1018699" y="429101"/>
                  <a:pt x="1014889" y="424339"/>
                </a:cubicBezTo>
                <a:cubicBezTo>
                  <a:pt x="1010126" y="404336"/>
                  <a:pt x="1005364" y="383381"/>
                  <a:pt x="1000601" y="362426"/>
                </a:cubicBezTo>
                <a:cubicBezTo>
                  <a:pt x="999649" y="357664"/>
                  <a:pt x="997744" y="351949"/>
                  <a:pt x="996791" y="347186"/>
                </a:cubicBezTo>
                <a:cubicBezTo>
                  <a:pt x="996791" y="344329"/>
                  <a:pt x="995839" y="342424"/>
                  <a:pt x="994886" y="339566"/>
                </a:cubicBezTo>
                <a:cubicBezTo>
                  <a:pt x="967264" y="254794"/>
                  <a:pt x="902494" y="161449"/>
                  <a:pt x="892969" y="148114"/>
                </a:cubicBezTo>
                <a:cubicBezTo>
                  <a:pt x="892016" y="147161"/>
                  <a:pt x="892016" y="146209"/>
                  <a:pt x="891064" y="144304"/>
                </a:cubicBezTo>
                <a:cubicBezTo>
                  <a:pt x="891064" y="144304"/>
                  <a:pt x="891064" y="144304"/>
                  <a:pt x="891064" y="144304"/>
                </a:cubicBezTo>
                <a:cubicBezTo>
                  <a:pt x="890111" y="141446"/>
                  <a:pt x="888206" y="139541"/>
                  <a:pt x="886301" y="137636"/>
                </a:cubicBezTo>
                <a:cubicBezTo>
                  <a:pt x="884396" y="114776"/>
                  <a:pt x="865346" y="97631"/>
                  <a:pt x="842486" y="97631"/>
                </a:cubicBezTo>
                <a:cubicBezTo>
                  <a:pt x="834866" y="97631"/>
                  <a:pt x="828199" y="99536"/>
                  <a:pt x="821531" y="103346"/>
                </a:cubicBezTo>
                <a:cubicBezTo>
                  <a:pt x="820579" y="92869"/>
                  <a:pt x="812959" y="83344"/>
                  <a:pt x="803434" y="80486"/>
                </a:cubicBezTo>
                <a:cubicBezTo>
                  <a:pt x="799624" y="72866"/>
                  <a:pt x="792956" y="66199"/>
                  <a:pt x="784384" y="63341"/>
                </a:cubicBezTo>
                <a:cubicBezTo>
                  <a:pt x="779621" y="50006"/>
                  <a:pt x="766286" y="40481"/>
                  <a:pt x="751046" y="40481"/>
                </a:cubicBezTo>
                <a:cubicBezTo>
                  <a:pt x="737711" y="40481"/>
                  <a:pt x="726281" y="48101"/>
                  <a:pt x="719614" y="58579"/>
                </a:cubicBezTo>
                <a:cubicBezTo>
                  <a:pt x="715804" y="56674"/>
                  <a:pt x="712946" y="55721"/>
                  <a:pt x="708184" y="55721"/>
                </a:cubicBezTo>
                <a:cubicBezTo>
                  <a:pt x="707231" y="55721"/>
                  <a:pt x="705326" y="55721"/>
                  <a:pt x="704374" y="55721"/>
                </a:cubicBezTo>
                <a:cubicBezTo>
                  <a:pt x="703421" y="52864"/>
                  <a:pt x="700564" y="50006"/>
                  <a:pt x="698659" y="48101"/>
                </a:cubicBezTo>
                <a:cubicBezTo>
                  <a:pt x="701516" y="45244"/>
                  <a:pt x="703421" y="41434"/>
                  <a:pt x="703421" y="37624"/>
                </a:cubicBezTo>
                <a:cubicBezTo>
                  <a:pt x="703421" y="29051"/>
                  <a:pt x="696754" y="22384"/>
                  <a:pt x="688181" y="22384"/>
                </a:cubicBezTo>
                <a:cubicBezTo>
                  <a:pt x="685324" y="22384"/>
                  <a:pt x="681514" y="23336"/>
                  <a:pt x="679609" y="25241"/>
                </a:cubicBezTo>
                <a:cubicBezTo>
                  <a:pt x="676751" y="20479"/>
                  <a:pt x="672941" y="16669"/>
                  <a:pt x="667226" y="16669"/>
                </a:cubicBezTo>
                <a:cubicBezTo>
                  <a:pt x="667226" y="16669"/>
                  <a:pt x="667226" y="16669"/>
                  <a:pt x="667226" y="16669"/>
                </a:cubicBezTo>
                <a:cubicBezTo>
                  <a:pt x="665321" y="10954"/>
                  <a:pt x="659606" y="7144"/>
                  <a:pt x="652939" y="7144"/>
                </a:cubicBezTo>
                <a:cubicBezTo>
                  <a:pt x="644366" y="7144"/>
                  <a:pt x="637699" y="13811"/>
                  <a:pt x="637699" y="22384"/>
                </a:cubicBezTo>
                <a:cubicBezTo>
                  <a:pt x="637699" y="30956"/>
                  <a:pt x="644366" y="37624"/>
                  <a:pt x="652939" y="37624"/>
                </a:cubicBezTo>
                <a:cubicBezTo>
                  <a:pt x="654844" y="37624"/>
                  <a:pt x="656749" y="37624"/>
                  <a:pt x="658654" y="36671"/>
                </a:cubicBezTo>
                <a:cubicBezTo>
                  <a:pt x="660559" y="38576"/>
                  <a:pt x="663416" y="40481"/>
                  <a:pt x="667226" y="40481"/>
                </a:cubicBezTo>
                <a:cubicBezTo>
                  <a:pt x="669131" y="40481"/>
                  <a:pt x="670084" y="40481"/>
                  <a:pt x="671989" y="39529"/>
                </a:cubicBezTo>
                <a:cubicBezTo>
                  <a:pt x="671989" y="41434"/>
                  <a:pt x="672941" y="43339"/>
                  <a:pt x="673894" y="45244"/>
                </a:cubicBezTo>
                <a:cubicBezTo>
                  <a:pt x="671036" y="46196"/>
                  <a:pt x="669131" y="48101"/>
                  <a:pt x="667226" y="50006"/>
                </a:cubicBezTo>
                <a:cubicBezTo>
                  <a:pt x="659606" y="50959"/>
                  <a:pt x="652939" y="57626"/>
                  <a:pt x="652939" y="65246"/>
                </a:cubicBezTo>
                <a:cubicBezTo>
                  <a:pt x="652939" y="72866"/>
                  <a:pt x="657701" y="78581"/>
                  <a:pt x="664369" y="80486"/>
                </a:cubicBezTo>
                <a:cubicBezTo>
                  <a:pt x="665321" y="81439"/>
                  <a:pt x="666274" y="82391"/>
                  <a:pt x="666274" y="83344"/>
                </a:cubicBezTo>
                <a:cubicBezTo>
                  <a:pt x="663416" y="86201"/>
                  <a:pt x="661511" y="90011"/>
                  <a:pt x="661511" y="94774"/>
                </a:cubicBezTo>
                <a:cubicBezTo>
                  <a:pt x="661511" y="96679"/>
                  <a:pt x="661511" y="99536"/>
                  <a:pt x="662464" y="101441"/>
                </a:cubicBezTo>
                <a:cubicBezTo>
                  <a:pt x="662464" y="101441"/>
                  <a:pt x="661511" y="101441"/>
                  <a:pt x="661511" y="101441"/>
                </a:cubicBezTo>
                <a:cubicBezTo>
                  <a:pt x="650081" y="101441"/>
                  <a:pt x="640556" y="110966"/>
                  <a:pt x="640556" y="122396"/>
                </a:cubicBezTo>
                <a:cubicBezTo>
                  <a:pt x="640556" y="130016"/>
                  <a:pt x="644366" y="136684"/>
                  <a:pt x="651034" y="140494"/>
                </a:cubicBezTo>
                <a:cubicBezTo>
                  <a:pt x="650081" y="142399"/>
                  <a:pt x="649129" y="144304"/>
                  <a:pt x="649129" y="146209"/>
                </a:cubicBezTo>
                <a:cubicBezTo>
                  <a:pt x="649129" y="151924"/>
                  <a:pt x="653891" y="156686"/>
                  <a:pt x="659606" y="156686"/>
                </a:cubicBezTo>
                <a:cubicBezTo>
                  <a:pt x="665321" y="156686"/>
                  <a:pt x="670084" y="151924"/>
                  <a:pt x="670084" y="146209"/>
                </a:cubicBezTo>
                <a:cubicBezTo>
                  <a:pt x="670084" y="145256"/>
                  <a:pt x="670084" y="143351"/>
                  <a:pt x="669131" y="142399"/>
                </a:cubicBezTo>
                <a:cubicBezTo>
                  <a:pt x="670084" y="141446"/>
                  <a:pt x="671989" y="141446"/>
                  <a:pt x="672941" y="140494"/>
                </a:cubicBezTo>
                <a:cubicBezTo>
                  <a:pt x="672941" y="141446"/>
                  <a:pt x="671989" y="143351"/>
                  <a:pt x="671989" y="145256"/>
                </a:cubicBezTo>
                <a:cubicBezTo>
                  <a:pt x="671989" y="152876"/>
                  <a:pt x="677704" y="158591"/>
                  <a:pt x="685324" y="158591"/>
                </a:cubicBezTo>
                <a:cubicBezTo>
                  <a:pt x="692944" y="158591"/>
                  <a:pt x="698659" y="152876"/>
                  <a:pt x="698659" y="145256"/>
                </a:cubicBezTo>
                <a:cubicBezTo>
                  <a:pt x="698659" y="137636"/>
                  <a:pt x="692944" y="131921"/>
                  <a:pt x="685324" y="131921"/>
                </a:cubicBezTo>
                <a:cubicBezTo>
                  <a:pt x="683419" y="131921"/>
                  <a:pt x="681514" y="132874"/>
                  <a:pt x="679609" y="132874"/>
                </a:cubicBezTo>
                <a:cubicBezTo>
                  <a:pt x="680561" y="130016"/>
                  <a:pt x="681514" y="128111"/>
                  <a:pt x="681514" y="125254"/>
                </a:cubicBezTo>
                <a:cubicBezTo>
                  <a:pt x="681514" y="125254"/>
                  <a:pt x="682466" y="125254"/>
                  <a:pt x="682466" y="125254"/>
                </a:cubicBezTo>
                <a:cubicBezTo>
                  <a:pt x="691039" y="125254"/>
                  <a:pt x="698659" y="118586"/>
                  <a:pt x="699611" y="110014"/>
                </a:cubicBezTo>
                <a:cubicBezTo>
                  <a:pt x="701516" y="110966"/>
                  <a:pt x="704374" y="111919"/>
                  <a:pt x="706279" y="111919"/>
                </a:cubicBezTo>
                <a:cubicBezTo>
                  <a:pt x="706279" y="112871"/>
                  <a:pt x="706279" y="112871"/>
                  <a:pt x="706279" y="113824"/>
                </a:cubicBezTo>
                <a:cubicBezTo>
                  <a:pt x="706279" y="117634"/>
                  <a:pt x="709136" y="120491"/>
                  <a:pt x="711994" y="122396"/>
                </a:cubicBezTo>
                <a:cubicBezTo>
                  <a:pt x="712946" y="135731"/>
                  <a:pt x="724376" y="146209"/>
                  <a:pt x="738664" y="146209"/>
                </a:cubicBezTo>
                <a:cubicBezTo>
                  <a:pt x="749141" y="146209"/>
                  <a:pt x="758666" y="139541"/>
                  <a:pt x="763429" y="130969"/>
                </a:cubicBezTo>
                <a:cubicBezTo>
                  <a:pt x="765334" y="131921"/>
                  <a:pt x="767239" y="131921"/>
                  <a:pt x="770096" y="132874"/>
                </a:cubicBezTo>
                <a:cubicBezTo>
                  <a:pt x="772001" y="135731"/>
                  <a:pt x="774859" y="138589"/>
                  <a:pt x="778669" y="140494"/>
                </a:cubicBezTo>
                <a:cubicBezTo>
                  <a:pt x="776764" y="141446"/>
                  <a:pt x="774859" y="143351"/>
                  <a:pt x="773906" y="145256"/>
                </a:cubicBezTo>
                <a:cubicBezTo>
                  <a:pt x="772954" y="141446"/>
                  <a:pt x="770096" y="138589"/>
                  <a:pt x="765334" y="138589"/>
                </a:cubicBezTo>
                <a:cubicBezTo>
                  <a:pt x="760571" y="138589"/>
                  <a:pt x="756761" y="142399"/>
                  <a:pt x="756761" y="147161"/>
                </a:cubicBezTo>
                <a:cubicBezTo>
                  <a:pt x="756761" y="150971"/>
                  <a:pt x="758666" y="153829"/>
                  <a:pt x="761524" y="154781"/>
                </a:cubicBezTo>
                <a:cubicBezTo>
                  <a:pt x="759619" y="156686"/>
                  <a:pt x="757714" y="158591"/>
                  <a:pt x="757714" y="161449"/>
                </a:cubicBezTo>
                <a:cubicBezTo>
                  <a:pt x="757714" y="163354"/>
                  <a:pt x="758666" y="165259"/>
                  <a:pt x="759619" y="167164"/>
                </a:cubicBezTo>
                <a:cubicBezTo>
                  <a:pt x="759619" y="168116"/>
                  <a:pt x="759619" y="168116"/>
                  <a:pt x="759619" y="169069"/>
                </a:cubicBezTo>
                <a:cubicBezTo>
                  <a:pt x="755809" y="161449"/>
                  <a:pt x="748189" y="155734"/>
                  <a:pt x="738664" y="155734"/>
                </a:cubicBezTo>
                <a:cubicBezTo>
                  <a:pt x="737711" y="155734"/>
                  <a:pt x="736759" y="155734"/>
                  <a:pt x="735806" y="155734"/>
                </a:cubicBezTo>
                <a:cubicBezTo>
                  <a:pt x="733901" y="153829"/>
                  <a:pt x="731996" y="152876"/>
                  <a:pt x="729139" y="152876"/>
                </a:cubicBezTo>
                <a:cubicBezTo>
                  <a:pt x="724376" y="152876"/>
                  <a:pt x="719614" y="156686"/>
                  <a:pt x="719614" y="162401"/>
                </a:cubicBezTo>
                <a:cubicBezTo>
                  <a:pt x="719614" y="163354"/>
                  <a:pt x="719614" y="164306"/>
                  <a:pt x="720566" y="165259"/>
                </a:cubicBezTo>
                <a:cubicBezTo>
                  <a:pt x="718661" y="168116"/>
                  <a:pt x="716756" y="170974"/>
                  <a:pt x="716756" y="173831"/>
                </a:cubicBezTo>
                <a:cubicBezTo>
                  <a:pt x="714851" y="173831"/>
                  <a:pt x="713899" y="172879"/>
                  <a:pt x="711994" y="172879"/>
                </a:cubicBezTo>
                <a:cubicBezTo>
                  <a:pt x="704374" y="172879"/>
                  <a:pt x="697706" y="174784"/>
                  <a:pt x="691991" y="178594"/>
                </a:cubicBezTo>
                <a:cubicBezTo>
                  <a:pt x="688181" y="176689"/>
                  <a:pt x="684371" y="175736"/>
                  <a:pt x="680561" y="175736"/>
                </a:cubicBezTo>
                <a:cubicBezTo>
                  <a:pt x="678656" y="175736"/>
                  <a:pt x="675799" y="175736"/>
                  <a:pt x="673894" y="176689"/>
                </a:cubicBezTo>
                <a:cubicBezTo>
                  <a:pt x="674846" y="175736"/>
                  <a:pt x="675799" y="173831"/>
                  <a:pt x="675799" y="172879"/>
                </a:cubicBezTo>
                <a:cubicBezTo>
                  <a:pt x="675799" y="169069"/>
                  <a:pt x="671989" y="165259"/>
                  <a:pt x="668179" y="165259"/>
                </a:cubicBezTo>
                <a:cubicBezTo>
                  <a:pt x="664369" y="165259"/>
                  <a:pt x="660559" y="169069"/>
                  <a:pt x="660559" y="172879"/>
                </a:cubicBezTo>
                <a:cubicBezTo>
                  <a:pt x="660559" y="176689"/>
                  <a:pt x="663416" y="179546"/>
                  <a:pt x="667226" y="180499"/>
                </a:cubicBezTo>
                <a:cubicBezTo>
                  <a:pt x="661511" y="184309"/>
                  <a:pt x="657701" y="191929"/>
                  <a:pt x="657701" y="199549"/>
                </a:cubicBezTo>
                <a:cubicBezTo>
                  <a:pt x="657701" y="202406"/>
                  <a:pt x="658654" y="205264"/>
                  <a:pt x="659606" y="207169"/>
                </a:cubicBezTo>
                <a:cubicBezTo>
                  <a:pt x="657701" y="207169"/>
                  <a:pt x="655796" y="207169"/>
                  <a:pt x="654844" y="208121"/>
                </a:cubicBezTo>
                <a:cubicBezTo>
                  <a:pt x="652939" y="206216"/>
                  <a:pt x="651034" y="205264"/>
                  <a:pt x="648176" y="205264"/>
                </a:cubicBezTo>
                <a:cubicBezTo>
                  <a:pt x="643414" y="205264"/>
                  <a:pt x="639604" y="209074"/>
                  <a:pt x="639604" y="213836"/>
                </a:cubicBezTo>
                <a:cubicBezTo>
                  <a:pt x="639604" y="215741"/>
                  <a:pt x="640556" y="216694"/>
                  <a:pt x="640556" y="217646"/>
                </a:cubicBezTo>
                <a:cubicBezTo>
                  <a:pt x="637699" y="219551"/>
                  <a:pt x="635794" y="222409"/>
                  <a:pt x="634841" y="226219"/>
                </a:cubicBezTo>
                <a:cubicBezTo>
                  <a:pt x="632936" y="224314"/>
                  <a:pt x="630079" y="223361"/>
                  <a:pt x="627221" y="223361"/>
                </a:cubicBezTo>
                <a:cubicBezTo>
                  <a:pt x="626269" y="215741"/>
                  <a:pt x="621506" y="209074"/>
                  <a:pt x="613886" y="205264"/>
                </a:cubicBezTo>
                <a:cubicBezTo>
                  <a:pt x="617696" y="205264"/>
                  <a:pt x="620554" y="204311"/>
                  <a:pt x="623411" y="203359"/>
                </a:cubicBezTo>
                <a:cubicBezTo>
                  <a:pt x="625316" y="206216"/>
                  <a:pt x="629126" y="209074"/>
                  <a:pt x="632936" y="209074"/>
                </a:cubicBezTo>
                <a:cubicBezTo>
                  <a:pt x="639604" y="209074"/>
                  <a:pt x="644366" y="204311"/>
                  <a:pt x="644366" y="197644"/>
                </a:cubicBezTo>
                <a:cubicBezTo>
                  <a:pt x="644366" y="194786"/>
                  <a:pt x="643414" y="191929"/>
                  <a:pt x="640556" y="189071"/>
                </a:cubicBezTo>
                <a:cubicBezTo>
                  <a:pt x="644366" y="183356"/>
                  <a:pt x="646271" y="176689"/>
                  <a:pt x="646271" y="170021"/>
                </a:cubicBezTo>
                <a:cubicBezTo>
                  <a:pt x="646271" y="153829"/>
                  <a:pt x="634841" y="139541"/>
                  <a:pt x="619601" y="135731"/>
                </a:cubicBezTo>
                <a:cubicBezTo>
                  <a:pt x="617696" y="133826"/>
                  <a:pt x="615791" y="132874"/>
                  <a:pt x="612934" y="132874"/>
                </a:cubicBezTo>
                <a:cubicBezTo>
                  <a:pt x="611029" y="132874"/>
                  <a:pt x="609124" y="133826"/>
                  <a:pt x="607219" y="134779"/>
                </a:cubicBezTo>
                <a:cubicBezTo>
                  <a:pt x="605314" y="134779"/>
                  <a:pt x="602456" y="135731"/>
                  <a:pt x="600551" y="135731"/>
                </a:cubicBezTo>
                <a:cubicBezTo>
                  <a:pt x="601504" y="133826"/>
                  <a:pt x="601504" y="131921"/>
                  <a:pt x="601504" y="129064"/>
                </a:cubicBezTo>
                <a:cubicBezTo>
                  <a:pt x="603409" y="130016"/>
                  <a:pt x="605314" y="130969"/>
                  <a:pt x="607219" y="130969"/>
                </a:cubicBezTo>
                <a:cubicBezTo>
                  <a:pt x="611981" y="130969"/>
                  <a:pt x="616744" y="127159"/>
                  <a:pt x="616744" y="121444"/>
                </a:cubicBezTo>
                <a:cubicBezTo>
                  <a:pt x="616744" y="115729"/>
                  <a:pt x="612934" y="111919"/>
                  <a:pt x="607219" y="111919"/>
                </a:cubicBezTo>
                <a:cubicBezTo>
                  <a:pt x="604361" y="111919"/>
                  <a:pt x="601504" y="113824"/>
                  <a:pt x="599599" y="116681"/>
                </a:cubicBezTo>
                <a:cubicBezTo>
                  <a:pt x="597694" y="112871"/>
                  <a:pt x="594836" y="110014"/>
                  <a:pt x="591979" y="107156"/>
                </a:cubicBezTo>
                <a:cubicBezTo>
                  <a:pt x="593884" y="108109"/>
                  <a:pt x="596741" y="108109"/>
                  <a:pt x="598646" y="108109"/>
                </a:cubicBezTo>
                <a:cubicBezTo>
                  <a:pt x="612934" y="108109"/>
                  <a:pt x="624364" y="97631"/>
                  <a:pt x="626269" y="84296"/>
                </a:cubicBezTo>
                <a:cubicBezTo>
                  <a:pt x="628174" y="85249"/>
                  <a:pt x="629126" y="85249"/>
                  <a:pt x="631031" y="85249"/>
                </a:cubicBezTo>
                <a:cubicBezTo>
                  <a:pt x="638651" y="85249"/>
                  <a:pt x="644366" y="79534"/>
                  <a:pt x="644366" y="71914"/>
                </a:cubicBezTo>
                <a:cubicBezTo>
                  <a:pt x="644366" y="64294"/>
                  <a:pt x="638651" y="58579"/>
                  <a:pt x="631031" y="58579"/>
                </a:cubicBezTo>
                <a:cubicBezTo>
                  <a:pt x="626269" y="58579"/>
                  <a:pt x="622459" y="60484"/>
                  <a:pt x="620554" y="64294"/>
                </a:cubicBezTo>
                <a:cubicBezTo>
                  <a:pt x="615791" y="57626"/>
                  <a:pt x="607219" y="53816"/>
                  <a:pt x="598646" y="53816"/>
                </a:cubicBezTo>
                <a:cubicBezTo>
                  <a:pt x="591026" y="53816"/>
                  <a:pt x="584359" y="56674"/>
                  <a:pt x="578644" y="62389"/>
                </a:cubicBezTo>
                <a:cubicBezTo>
                  <a:pt x="578644" y="61436"/>
                  <a:pt x="578644" y="59531"/>
                  <a:pt x="578644" y="58579"/>
                </a:cubicBezTo>
                <a:cubicBezTo>
                  <a:pt x="578644" y="47149"/>
                  <a:pt x="569119" y="37624"/>
                  <a:pt x="557689" y="37624"/>
                </a:cubicBezTo>
                <a:cubicBezTo>
                  <a:pt x="546259" y="37624"/>
                  <a:pt x="536734" y="47149"/>
                  <a:pt x="536734" y="58579"/>
                </a:cubicBezTo>
                <a:cubicBezTo>
                  <a:pt x="536734" y="70009"/>
                  <a:pt x="546259" y="79534"/>
                  <a:pt x="557689" y="79534"/>
                </a:cubicBezTo>
                <a:cubicBezTo>
                  <a:pt x="562451" y="79534"/>
                  <a:pt x="567214" y="77629"/>
                  <a:pt x="571024" y="74771"/>
                </a:cubicBezTo>
                <a:cubicBezTo>
                  <a:pt x="570071" y="77629"/>
                  <a:pt x="570071" y="80486"/>
                  <a:pt x="570071" y="83344"/>
                </a:cubicBezTo>
                <a:cubicBezTo>
                  <a:pt x="570071" y="92869"/>
                  <a:pt x="574834" y="101441"/>
                  <a:pt x="582454" y="106204"/>
                </a:cubicBezTo>
                <a:cubicBezTo>
                  <a:pt x="580549" y="106204"/>
                  <a:pt x="579596" y="105251"/>
                  <a:pt x="577691" y="105251"/>
                </a:cubicBezTo>
                <a:cubicBezTo>
                  <a:pt x="570071" y="105251"/>
                  <a:pt x="563404" y="109061"/>
                  <a:pt x="559594" y="113824"/>
                </a:cubicBezTo>
                <a:cubicBezTo>
                  <a:pt x="555784" y="107156"/>
                  <a:pt x="549116" y="103346"/>
                  <a:pt x="541496" y="103346"/>
                </a:cubicBezTo>
                <a:cubicBezTo>
                  <a:pt x="530066" y="103346"/>
                  <a:pt x="519589" y="112871"/>
                  <a:pt x="519589" y="125254"/>
                </a:cubicBezTo>
                <a:cubicBezTo>
                  <a:pt x="519589" y="137636"/>
                  <a:pt x="529114" y="147161"/>
                  <a:pt x="541496" y="147161"/>
                </a:cubicBezTo>
                <a:cubicBezTo>
                  <a:pt x="547211" y="147161"/>
                  <a:pt x="552926" y="144304"/>
                  <a:pt x="556736" y="140494"/>
                </a:cubicBezTo>
                <a:cubicBezTo>
                  <a:pt x="560546" y="148114"/>
                  <a:pt x="569119" y="153829"/>
                  <a:pt x="578644" y="153829"/>
                </a:cubicBezTo>
                <a:cubicBezTo>
                  <a:pt x="579596" y="153829"/>
                  <a:pt x="580549" y="153829"/>
                  <a:pt x="581501" y="153829"/>
                </a:cubicBezTo>
                <a:cubicBezTo>
                  <a:pt x="578644" y="158591"/>
                  <a:pt x="576739" y="165259"/>
                  <a:pt x="576739" y="170974"/>
                </a:cubicBezTo>
                <a:cubicBezTo>
                  <a:pt x="576739" y="172879"/>
                  <a:pt x="576739" y="174784"/>
                  <a:pt x="577691" y="176689"/>
                </a:cubicBezTo>
                <a:cubicBezTo>
                  <a:pt x="571976" y="172879"/>
                  <a:pt x="565309" y="170974"/>
                  <a:pt x="557689" y="170974"/>
                </a:cubicBezTo>
                <a:cubicBezTo>
                  <a:pt x="545306" y="170974"/>
                  <a:pt x="533876" y="176689"/>
                  <a:pt x="526256" y="186214"/>
                </a:cubicBezTo>
                <a:cubicBezTo>
                  <a:pt x="523399" y="181451"/>
                  <a:pt x="518636" y="177641"/>
                  <a:pt x="512921" y="177641"/>
                </a:cubicBezTo>
                <a:cubicBezTo>
                  <a:pt x="504349" y="177641"/>
                  <a:pt x="497681" y="184309"/>
                  <a:pt x="497681" y="192881"/>
                </a:cubicBezTo>
                <a:cubicBezTo>
                  <a:pt x="497681" y="201454"/>
                  <a:pt x="504349" y="208121"/>
                  <a:pt x="512921" y="208121"/>
                </a:cubicBezTo>
                <a:cubicBezTo>
                  <a:pt x="514826" y="208121"/>
                  <a:pt x="516731" y="208121"/>
                  <a:pt x="518636" y="207169"/>
                </a:cubicBezTo>
                <a:cubicBezTo>
                  <a:pt x="518636" y="208121"/>
                  <a:pt x="518636" y="209074"/>
                  <a:pt x="518636" y="210026"/>
                </a:cubicBezTo>
                <a:cubicBezTo>
                  <a:pt x="518636" y="222409"/>
                  <a:pt x="524351" y="232886"/>
                  <a:pt x="532924" y="239554"/>
                </a:cubicBezTo>
                <a:cubicBezTo>
                  <a:pt x="531019" y="242411"/>
                  <a:pt x="530066" y="246221"/>
                  <a:pt x="530066" y="249079"/>
                </a:cubicBezTo>
                <a:cubicBezTo>
                  <a:pt x="530066" y="250031"/>
                  <a:pt x="530066" y="250031"/>
                  <a:pt x="530066" y="250984"/>
                </a:cubicBezTo>
                <a:cubicBezTo>
                  <a:pt x="523399" y="255746"/>
                  <a:pt x="517684" y="261461"/>
                  <a:pt x="514826" y="270034"/>
                </a:cubicBezTo>
                <a:cubicBezTo>
                  <a:pt x="508159" y="274796"/>
                  <a:pt x="503396" y="283369"/>
                  <a:pt x="503396" y="291941"/>
                </a:cubicBezTo>
                <a:cubicBezTo>
                  <a:pt x="503396" y="307181"/>
                  <a:pt x="515779" y="319564"/>
                  <a:pt x="531019" y="319564"/>
                </a:cubicBezTo>
                <a:cubicBezTo>
                  <a:pt x="534829" y="319564"/>
                  <a:pt x="537686" y="318611"/>
                  <a:pt x="540544" y="317659"/>
                </a:cubicBezTo>
                <a:cubicBezTo>
                  <a:pt x="543401" y="318611"/>
                  <a:pt x="546259" y="318611"/>
                  <a:pt x="549116" y="318611"/>
                </a:cubicBezTo>
                <a:cubicBezTo>
                  <a:pt x="564356" y="318611"/>
                  <a:pt x="577691" y="309086"/>
                  <a:pt x="582454" y="295751"/>
                </a:cubicBezTo>
                <a:cubicBezTo>
                  <a:pt x="583406" y="295751"/>
                  <a:pt x="583406" y="294799"/>
                  <a:pt x="584359" y="294799"/>
                </a:cubicBezTo>
                <a:cubicBezTo>
                  <a:pt x="584359" y="294799"/>
                  <a:pt x="585311" y="294799"/>
                  <a:pt x="585311" y="294799"/>
                </a:cubicBezTo>
                <a:cubicBezTo>
                  <a:pt x="587216" y="301466"/>
                  <a:pt x="591026" y="306229"/>
                  <a:pt x="596741" y="310991"/>
                </a:cubicBezTo>
                <a:cubicBezTo>
                  <a:pt x="596741" y="310991"/>
                  <a:pt x="596741" y="311944"/>
                  <a:pt x="596741" y="311944"/>
                </a:cubicBezTo>
                <a:cubicBezTo>
                  <a:pt x="596741" y="312896"/>
                  <a:pt x="596741" y="312896"/>
                  <a:pt x="596741" y="313849"/>
                </a:cubicBezTo>
                <a:cubicBezTo>
                  <a:pt x="595789" y="315754"/>
                  <a:pt x="595789" y="318611"/>
                  <a:pt x="595789" y="321469"/>
                </a:cubicBezTo>
                <a:cubicBezTo>
                  <a:pt x="595789" y="328136"/>
                  <a:pt x="598646" y="333851"/>
                  <a:pt x="603409" y="337661"/>
                </a:cubicBezTo>
                <a:cubicBezTo>
                  <a:pt x="603409" y="338614"/>
                  <a:pt x="603409" y="339566"/>
                  <a:pt x="603409" y="339566"/>
                </a:cubicBezTo>
                <a:cubicBezTo>
                  <a:pt x="603409" y="347186"/>
                  <a:pt x="608171" y="352901"/>
                  <a:pt x="614839" y="354806"/>
                </a:cubicBezTo>
                <a:cubicBezTo>
                  <a:pt x="612934" y="356711"/>
                  <a:pt x="611029" y="359569"/>
                  <a:pt x="611029" y="363379"/>
                </a:cubicBezTo>
                <a:cubicBezTo>
                  <a:pt x="604361" y="356711"/>
                  <a:pt x="595789" y="352901"/>
                  <a:pt x="586264" y="352901"/>
                </a:cubicBezTo>
                <a:cubicBezTo>
                  <a:pt x="567214" y="352901"/>
                  <a:pt x="551974" y="368141"/>
                  <a:pt x="551974" y="387191"/>
                </a:cubicBezTo>
                <a:cubicBezTo>
                  <a:pt x="551974" y="390049"/>
                  <a:pt x="551974" y="392906"/>
                  <a:pt x="552926" y="395764"/>
                </a:cubicBezTo>
                <a:cubicBezTo>
                  <a:pt x="550069" y="391001"/>
                  <a:pt x="546259" y="387191"/>
                  <a:pt x="541496" y="385286"/>
                </a:cubicBezTo>
                <a:cubicBezTo>
                  <a:pt x="539591" y="379571"/>
                  <a:pt x="533876" y="375761"/>
                  <a:pt x="527209" y="375761"/>
                </a:cubicBezTo>
                <a:cubicBezTo>
                  <a:pt x="518636" y="375761"/>
                  <a:pt x="511969" y="382429"/>
                  <a:pt x="511969" y="391001"/>
                </a:cubicBezTo>
                <a:cubicBezTo>
                  <a:pt x="511969" y="391954"/>
                  <a:pt x="511969" y="391954"/>
                  <a:pt x="511969" y="392906"/>
                </a:cubicBezTo>
                <a:cubicBezTo>
                  <a:pt x="508159" y="397669"/>
                  <a:pt x="506254" y="402431"/>
                  <a:pt x="506254" y="409099"/>
                </a:cubicBezTo>
                <a:cubicBezTo>
                  <a:pt x="506254" y="414814"/>
                  <a:pt x="508159" y="420529"/>
                  <a:pt x="511969" y="425291"/>
                </a:cubicBezTo>
                <a:cubicBezTo>
                  <a:pt x="511016" y="427196"/>
                  <a:pt x="511016" y="428149"/>
                  <a:pt x="511016" y="430054"/>
                </a:cubicBezTo>
                <a:cubicBezTo>
                  <a:pt x="511016" y="437674"/>
                  <a:pt x="516731" y="443389"/>
                  <a:pt x="524351" y="443389"/>
                </a:cubicBezTo>
                <a:cubicBezTo>
                  <a:pt x="530066" y="443389"/>
                  <a:pt x="535781" y="439579"/>
                  <a:pt x="537686" y="433864"/>
                </a:cubicBezTo>
                <a:cubicBezTo>
                  <a:pt x="537686" y="433864"/>
                  <a:pt x="537686" y="433864"/>
                  <a:pt x="537686" y="433864"/>
                </a:cubicBezTo>
                <a:cubicBezTo>
                  <a:pt x="537686" y="436721"/>
                  <a:pt x="538639" y="439579"/>
                  <a:pt x="539591" y="441484"/>
                </a:cubicBezTo>
                <a:cubicBezTo>
                  <a:pt x="535781" y="442436"/>
                  <a:pt x="531971" y="445294"/>
                  <a:pt x="531971" y="450056"/>
                </a:cubicBezTo>
                <a:cubicBezTo>
                  <a:pt x="531971" y="454819"/>
                  <a:pt x="535781" y="458629"/>
                  <a:pt x="540544" y="458629"/>
                </a:cubicBezTo>
                <a:cubicBezTo>
                  <a:pt x="545306" y="458629"/>
                  <a:pt x="549116" y="454819"/>
                  <a:pt x="549116" y="451009"/>
                </a:cubicBezTo>
                <a:cubicBezTo>
                  <a:pt x="551974" y="451961"/>
                  <a:pt x="554831" y="452914"/>
                  <a:pt x="557689" y="452914"/>
                </a:cubicBezTo>
                <a:cubicBezTo>
                  <a:pt x="559594" y="452914"/>
                  <a:pt x="561499" y="452914"/>
                  <a:pt x="563404" y="451961"/>
                </a:cubicBezTo>
                <a:cubicBezTo>
                  <a:pt x="563404" y="452914"/>
                  <a:pt x="564356" y="453866"/>
                  <a:pt x="565309" y="454819"/>
                </a:cubicBezTo>
                <a:cubicBezTo>
                  <a:pt x="562451" y="456724"/>
                  <a:pt x="560546" y="460534"/>
                  <a:pt x="560546" y="464344"/>
                </a:cubicBezTo>
                <a:cubicBezTo>
                  <a:pt x="560546" y="465296"/>
                  <a:pt x="560546" y="466249"/>
                  <a:pt x="560546" y="467201"/>
                </a:cubicBezTo>
                <a:cubicBezTo>
                  <a:pt x="555784" y="471964"/>
                  <a:pt x="551974" y="478631"/>
                  <a:pt x="551974" y="487204"/>
                </a:cubicBezTo>
                <a:cubicBezTo>
                  <a:pt x="551974" y="487204"/>
                  <a:pt x="551974" y="488156"/>
                  <a:pt x="551974" y="488156"/>
                </a:cubicBezTo>
                <a:cubicBezTo>
                  <a:pt x="549116" y="491014"/>
                  <a:pt x="548164" y="494824"/>
                  <a:pt x="548164" y="499586"/>
                </a:cubicBezTo>
                <a:cubicBezTo>
                  <a:pt x="548164" y="509111"/>
                  <a:pt x="555784" y="517684"/>
                  <a:pt x="566261" y="517684"/>
                </a:cubicBezTo>
                <a:cubicBezTo>
                  <a:pt x="569119" y="517684"/>
                  <a:pt x="571976" y="516731"/>
                  <a:pt x="573881" y="515779"/>
                </a:cubicBezTo>
                <a:cubicBezTo>
                  <a:pt x="571976" y="517684"/>
                  <a:pt x="571024" y="520541"/>
                  <a:pt x="571024" y="523399"/>
                </a:cubicBezTo>
                <a:cubicBezTo>
                  <a:pt x="571024" y="527209"/>
                  <a:pt x="572929" y="530066"/>
                  <a:pt x="574834" y="531971"/>
                </a:cubicBezTo>
                <a:cubicBezTo>
                  <a:pt x="574834" y="531971"/>
                  <a:pt x="574834" y="532924"/>
                  <a:pt x="574834" y="532924"/>
                </a:cubicBezTo>
                <a:cubicBezTo>
                  <a:pt x="574834" y="539591"/>
                  <a:pt x="580549" y="544354"/>
                  <a:pt x="586264" y="544354"/>
                </a:cubicBezTo>
                <a:cubicBezTo>
                  <a:pt x="591026" y="544354"/>
                  <a:pt x="594836" y="541496"/>
                  <a:pt x="596741" y="537686"/>
                </a:cubicBezTo>
                <a:cubicBezTo>
                  <a:pt x="597694" y="537686"/>
                  <a:pt x="597694" y="536734"/>
                  <a:pt x="598646" y="536734"/>
                </a:cubicBezTo>
                <a:cubicBezTo>
                  <a:pt x="602456" y="540544"/>
                  <a:pt x="607219" y="542449"/>
                  <a:pt x="611981" y="542449"/>
                </a:cubicBezTo>
                <a:cubicBezTo>
                  <a:pt x="622459" y="542449"/>
                  <a:pt x="631984" y="533876"/>
                  <a:pt x="631984" y="522446"/>
                </a:cubicBezTo>
                <a:cubicBezTo>
                  <a:pt x="635794" y="524351"/>
                  <a:pt x="639604" y="525304"/>
                  <a:pt x="643414" y="525304"/>
                </a:cubicBezTo>
                <a:cubicBezTo>
                  <a:pt x="636746" y="526256"/>
                  <a:pt x="632936" y="531971"/>
                  <a:pt x="632936" y="538639"/>
                </a:cubicBezTo>
                <a:cubicBezTo>
                  <a:pt x="632936" y="539591"/>
                  <a:pt x="632936" y="541496"/>
                  <a:pt x="633889" y="542449"/>
                </a:cubicBezTo>
                <a:cubicBezTo>
                  <a:pt x="629126" y="544354"/>
                  <a:pt x="626269" y="549116"/>
                  <a:pt x="626269" y="554831"/>
                </a:cubicBezTo>
                <a:cubicBezTo>
                  <a:pt x="626269" y="554831"/>
                  <a:pt x="626269" y="554831"/>
                  <a:pt x="626269" y="555784"/>
                </a:cubicBezTo>
                <a:cubicBezTo>
                  <a:pt x="624364" y="551021"/>
                  <a:pt x="619601" y="548164"/>
                  <a:pt x="614839" y="548164"/>
                </a:cubicBezTo>
                <a:cubicBezTo>
                  <a:pt x="608171" y="548164"/>
                  <a:pt x="602456" y="553879"/>
                  <a:pt x="602456" y="560546"/>
                </a:cubicBezTo>
                <a:cubicBezTo>
                  <a:pt x="602456" y="567214"/>
                  <a:pt x="608171" y="572929"/>
                  <a:pt x="614839" y="572929"/>
                </a:cubicBezTo>
                <a:cubicBezTo>
                  <a:pt x="621506" y="572929"/>
                  <a:pt x="627221" y="567214"/>
                  <a:pt x="627221" y="560546"/>
                </a:cubicBezTo>
                <a:cubicBezTo>
                  <a:pt x="627221" y="560546"/>
                  <a:pt x="627221" y="560546"/>
                  <a:pt x="627221" y="560546"/>
                </a:cubicBezTo>
                <a:cubicBezTo>
                  <a:pt x="628174" y="562451"/>
                  <a:pt x="629126" y="564356"/>
                  <a:pt x="631031" y="566261"/>
                </a:cubicBezTo>
                <a:cubicBezTo>
                  <a:pt x="629126" y="567214"/>
                  <a:pt x="628174" y="569119"/>
                  <a:pt x="628174" y="571024"/>
                </a:cubicBezTo>
                <a:cubicBezTo>
                  <a:pt x="628174" y="573881"/>
                  <a:pt x="631031" y="576739"/>
                  <a:pt x="633889" y="576739"/>
                </a:cubicBezTo>
                <a:cubicBezTo>
                  <a:pt x="636746" y="576739"/>
                  <a:pt x="639604" y="573881"/>
                  <a:pt x="639604" y="571024"/>
                </a:cubicBezTo>
                <a:cubicBezTo>
                  <a:pt x="639604" y="570071"/>
                  <a:pt x="639604" y="570071"/>
                  <a:pt x="639604" y="569119"/>
                </a:cubicBezTo>
                <a:cubicBezTo>
                  <a:pt x="639604" y="569119"/>
                  <a:pt x="640556" y="569119"/>
                  <a:pt x="640556" y="569119"/>
                </a:cubicBezTo>
                <a:cubicBezTo>
                  <a:pt x="642461" y="569119"/>
                  <a:pt x="644366" y="568166"/>
                  <a:pt x="646271" y="568166"/>
                </a:cubicBezTo>
                <a:cubicBezTo>
                  <a:pt x="647224" y="569119"/>
                  <a:pt x="647224" y="569119"/>
                  <a:pt x="648176" y="570071"/>
                </a:cubicBezTo>
                <a:cubicBezTo>
                  <a:pt x="647224" y="571024"/>
                  <a:pt x="647224" y="571976"/>
                  <a:pt x="647224" y="573881"/>
                </a:cubicBezTo>
                <a:cubicBezTo>
                  <a:pt x="647224" y="575786"/>
                  <a:pt x="648176" y="577691"/>
                  <a:pt x="650081" y="579596"/>
                </a:cubicBezTo>
                <a:cubicBezTo>
                  <a:pt x="646271" y="580549"/>
                  <a:pt x="642461" y="584359"/>
                  <a:pt x="642461" y="589121"/>
                </a:cubicBezTo>
                <a:cubicBezTo>
                  <a:pt x="642461" y="592931"/>
                  <a:pt x="644366" y="595789"/>
                  <a:pt x="648176" y="597694"/>
                </a:cubicBezTo>
                <a:cubicBezTo>
                  <a:pt x="649129" y="601504"/>
                  <a:pt x="651986" y="604361"/>
                  <a:pt x="656749" y="605314"/>
                </a:cubicBezTo>
                <a:lnTo>
                  <a:pt x="656749" y="608171"/>
                </a:lnTo>
                <a:cubicBezTo>
                  <a:pt x="654844" y="605314"/>
                  <a:pt x="651034" y="603409"/>
                  <a:pt x="647224" y="603409"/>
                </a:cubicBezTo>
                <a:cubicBezTo>
                  <a:pt x="640556" y="603409"/>
                  <a:pt x="635794" y="609124"/>
                  <a:pt x="635794" y="614839"/>
                </a:cubicBezTo>
                <a:cubicBezTo>
                  <a:pt x="635794" y="615791"/>
                  <a:pt x="635794" y="616744"/>
                  <a:pt x="636746" y="617696"/>
                </a:cubicBezTo>
                <a:cubicBezTo>
                  <a:pt x="635794" y="617696"/>
                  <a:pt x="634841" y="617696"/>
                  <a:pt x="634841" y="617696"/>
                </a:cubicBezTo>
                <a:cubicBezTo>
                  <a:pt x="627221" y="617696"/>
                  <a:pt x="620554" y="619601"/>
                  <a:pt x="614839" y="623411"/>
                </a:cubicBezTo>
                <a:cubicBezTo>
                  <a:pt x="614839" y="623411"/>
                  <a:pt x="614839" y="623411"/>
                  <a:pt x="613886" y="623411"/>
                </a:cubicBezTo>
                <a:cubicBezTo>
                  <a:pt x="611981" y="623411"/>
                  <a:pt x="610076" y="623411"/>
                  <a:pt x="609124" y="624364"/>
                </a:cubicBezTo>
                <a:cubicBezTo>
                  <a:pt x="609124" y="624364"/>
                  <a:pt x="609124" y="624364"/>
                  <a:pt x="609124" y="624364"/>
                </a:cubicBezTo>
                <a:cubicBezTo>
                  <a:pt x="609124" y="617696"/>
                  <a:pt x="603409" y="611981"/>
                  <a:pt x="596741" y="611981"/>
                </a:cubicBezTo>
                <a:cubicBezTo>
                  <a:pt x="592931" y="611981"/>
                  <a:pt x="589121" y="613886"/>
                  <a:pt x="587216" y="617696"/>
                </a:cubicBezTo>
                <a:cubicBezTo>
                  <a:pt x="582454" y="610076"/>
                  <a:pt x="573881" y="605314"/>
                  <a:pt x="564356" y="605314"/>
                </a:cubicBezTo>
                <a:cubicBezTo>
                  <a:pt x="554831" y="605314"/>
                  <a:pt x="547211" y="610076"/>
                  <a:pt x="542449" y="616744"/>
                </a:cubicBezTo>
                <a:cubicBezTo>
                  <a:pt x="541496" y="616744"/>
                  <a:pt x="541496" y="616744"/>
                  <a:pt x="540544" y="615791"/>
                </a:cubicBezTo>
                <a:cubicBezTo>
                  <a:pt x="539591" y="613886"/>
                  <a:pt x="537686" y="611029"/>
                  <a:pt x="536734" y="609124"/>
                </a:cubicBezTo>
                <a:cubicBezTo>
                  <a:pt x="546259" y="608171"/>
                  <a:pt x="553879" y="602456"/>
                  <a:pt x="556736" y="593884"/>
                </a:cubicBezTo>
                <a:cubicBezTo>
                  <a:pt x="560546" y="590074"/>
                  <a:pt x="563404" y="585311"/>
                  <a:pt x="563404" y="579596"/>
                </a:cubicBezTo>
                <a:cubicBezTo>
                  <a:pt x="563404" y="578644"/>
                  <a:pt x="563404" y="576739"/>
                  <a:pt x="563404" y="575786"/>
                </a:cubicBezTo>
                <a:cubicBezTo>
                  <a:pt x="563404" y="575786"/>
                  <a:pt x="564356" y="575786"/>
                  <a:pt x="564356" y="575786"/>
                </a:cubicBezTo>
                <a:cubicBezTo>
                  <a:pt x="567214" y="575786"/>
                  <a:pt x="570071" y="574834"/>
                  <a:pt x="572929" y="573881"/>
                </a:cubicBezTo>
                <a:cubicBezTo>
                  <a:pt x="571024" y="577691"/>
                  <a:pt x="569119" y="581501"/>
                  <a:pt x="569119" y="585311"/>
                </a:cubicBezTo>
                <a:cubicBezTo>
                  <a:pt x="569119" y="597694"/>
                  <a:pt x="578644" y="607219"/>
                  <a:pt x="591026" y="607219"/>
                </a:cubicBezTo>
                <a:cubicBezTo>
                  <a:pt x="603409" y="607219"/>
                  <a:pt x="612934" y="597694"/>
                  <a:pt x="612934" y="585311"/>
                </a:cubicBezTo>
                <a:cubicBezTo>
                  <a:pt x="612934" y="572929"/>
                  <a:pt x="603409" y="563404"/>
                  <a:pt x="591026" y="563404"/>
                </a:cubicBezTo>
                <a:cubicBezTo>
                  <a:pt x="586264" y="563404"/>
                  <a:pt x="582454" y="564356"/>
                  <a:pt x="579596" y="567214"/>
                </a:cubicBezTo>
                <a:cubicBezTo>
                  <a:pt x="580549" y="564356"/>
                  <a:pt x="581501" y="561499"/>
                  <a:pt x="581501" y="558641"/>
                </a:cubicBezTo>
                <a:cubicBezTo>
                  <a:pt x="581501" y="549116"/>
                  <a:pt x="573881" y="541496"/>
                  <a:pt x="564356" y="541496"/>
                </a:cubicBezTo>
                <a:cubicBezTo>
                  <a:pt x="554831" y="541496"/>
                  <a:pt x="547211" y="549116"/>
                  <a:pt x="547211" y="558641"/>
                </a:cubicBezTo>
                <a:cubicBezTo>
                  <a:pt x="547211" y="559594"/>
                  <a:pt x="547211" y="559594"/>
                  <a:pt x="547211" y="560546"/>
                </a:cubicBezTo>
                <a:cubicBezTo>
                  <a:pt x="546259" y="560546"/>
                  <a:pt x="545306" y="560546"/>
                  <a:pt x="543401" y="560546"/>
                </a:cubicBezTo>
                <a:cubicBezTo>
                  <a:pt x="537686" y="560546"/>
                  <a:pt x="531971" y="563404"/>
                  <a:pt x="528161" y="567214"/>
                </a:cubicBezTo>
                <a:cubicBezTo>
                  <a:pt x="527209" y="567214"/>
                  <a:pt x="527209" y="568166"/>
                  <a:pt x="526256" y="568166"/>
                </a:cubicBezTo>
                <a:cubicBezTo>
                  <a:pt x="526256" y="567214"/>
                  <a:pt x="526256" y="567214"/>
                  <a:pt x="526256" y="566261"/>
                </a:cubicBezTo>
                <a:cubicBezTo>
                  <a:pt x="526256" y="556736"/>
                  <a:pt x="518636" y="548164"/>
                  <a:pt x="508159" y="548164"/>
                </a:cubicBezTo>
                <a:cubicBezTo>
                  <a:pt x="498634" y="548164"/>
                  <a:pt x="490061" y="555784"/>
                  <a:pt x="490061" y="566261"/>
                </a:cubicBezTo>
                <a:cubicBezTo>
                  <a:pt x="490061" y="575786"/>
                  <a:pt x="497681" y="584359"/>
                  <a:pt x="508159" y="584359"/>
                </a:cubicBezTo>
                <a:cubicBezTo>
                  <a:pt x="510064" y="584359"/>
                  <a:pt x="511969" y="584359"/>
                  <a:pt x="513874" y="583406"/>
                </a:cubicBezTo>
                <a:cubicBezTo>
                  <a:pt x="513874" y="585311"/>
                  <a:pt x="512921" y="587216"/>
                  <a:pt x="512921" y="588169"/>
                </a:cubicBezTo>
                <a:cubicBezTo>
                  <a:pt x="512921" y="591979"/>
                  <a:pt x="513874" y="595789"/>
                  <a:pt x="515779" y="599599"/>
                </a:cubicBezTo>
                <a:cubicBezTo>
                  <a:pt x="514826" y="599599"/>
                  <a:pt x="512921" y="599599"/>
                  <a:pt x="511969" y="599599"/>
                </a:cubicBezTo>
                <a:cubicBezTo>
                  <a:pt x="510064" y="599599"/>
                  <a:pt x="508159" y="599599"/>
                  <a:pt x="506254" y="600551"/>
                </a:cubicBezTo>
                <a:cubicBezTo>
                  <a:pt x="504349" y="596741"/>
                  <a:pt x="501491" y="594836"/>
                  <a:pt x="497681" y="594836"/>
                </a:cubicBezTo>
                <a:cubicBezTo>
                  <a:pt x="492919" y="594836"/>
                  <a:pt x="490061" y="597694"/>
                  <a:pt x="489109" y="602456"/>
                </a:cubicBezTo>
                <a:cubicBezTo>
                  <a:pt x="488156" y="602456"/>
                  <a:pt x="487204" y="602456"/>
                  <a:pt x="487204" y="603409"/>
                </a:cubicBezTo>
                <a:cubicBezTo>
                  <a:pt x="483394" y="601504"/>
                  <a:pt x="479584" y="599599"/>
                  <a:pt x="475774" y="599599"/>
                </a:cubicBezTo>
                <a:cubicBezTo>
                  <a:pt x="464344" y="599599"/>
                  <a:pt x="454819" y="609124"/>
                  <a:pt x="454819" y="620554"/>
                </a:cubicBezTo>
                <a:cubicBezTo>
                  <a:pt x="454819" y="622459"/>
                  <a:pt x="454819" y="624364"/>
                  <a:pt x="455771" y="625316"/>
                </a:cubicBezTo>
                <a:cubicBezTo>
                  <a:pt x="452914" y="626269"/>
                  <a:pt x="450056" y="630079"/>
                  <a:pt x="450056" y="633889"/>
                </a:cubicBezTo>
                <a:cubicBezTo>
                  <a:pt x="450056" y="638651"/>
                  <a:pt x="453866" y="643414"/>
                  <a:pt x="459581" y="643414"/>
                </a:cubicBezTo>
                <a:cubicBezTo>
                  <a:pt x="459581" y="656749"/>
                  <a:pt x="471011" y="668179"/>
                  <a:pt x="484346" y="668179"/>
                </a:cubicBezTo>
                <a:cubicBezTo>
                  <a:pt x="490061" y="668179"/>
                  <a:pt x="494824" y="666274"/>
                  <a:pt x="498634" y="663416"/>
                </a:cubicBezTo>
                <a:cubicBezTo>
                  <a:pt x="500539" y="663416"/>
                  <a:pt x="501491" y="663416"/>
                  <a:pt x="503396" y="662464"/>
                </a:cubicBezTo>
                <a:cubicBezTo>
                  <a:pt x="505301" y="663416"/>
                  <a:pt x="508159" y="663416"/>
                  <a:pt x="511016" y="664369"/>
                </a:cubicBezTo>
                <a:cubicBezTo>
                  <a:pt x="511016" y="665321"/>
                  <a:pt x="511969" y="666274"/>
                  <a:pt x="511969" y="667226"/>
                </a:cubicBezTo>
                <a:cubicBezTo>
                  <a:pt x="511969" y="667226"/>
                  <a:pt x="511969" y="668179"/>
                  <a:pt x="511969" y="668179"/>
                </a:cubicBezTo>
                <a:cubicBezTo>
                  <a:pt x="511969" y="671989"/>
                  <a:pt x="512921" y="674846"/>
                  <a:pt x="513874" y="677704"/>
                </a:cubicBezTo>
                <a:cubicBezTo>
                  <a:pt x="512921" y="677704"/>
                  <a:pt x="512921" y="677704"/>
                  <a:pt x="511969" y="678656"/>
                </a:cubicBezTo>
                <a:cubicBezTo>
                  <a:pt x="509111" y="673894"/>
                  <a:pt x="504349" y="671036"/>
                  <a:pt x="498634" y="671036"/>
                </a:cubicBezTo>
                <a:cubicBezTo>
                  <a:pt x="493871" y="671036"/>
                  <a:pt x="490061" y="672941"/>
                  <a:pt x="487204" y="675799"/>
                </a:cubicBezTo>
                <a:cubicBezTo>
                  <a:pt x="485299" y="674846"/>
                  <a:pt x="483394" y="673894"/>
                  <a:pt x="481489" y="673894"/>
                </a:cubicBezTo>
                <a:cubicBezTo>
                  <a:pt x="474821" y="673894"/>
                  <a:pt x="470059" y="678656"/>
                  <a:pt x="470059" y="685324"/>
                </a:cubicBezTo>
                <a:cubicBezTo>
                  <a:pt x="470059" y="691991"/>
                  <a:pt x="474821" y="696754"/>
                  <a:pt x="481489" y="696754"/>
                </a:cubicBezTo>
                <a:cubicBezTo>
                  <a:pt x="482441" y="696754"/>
                  <a:pt x="483394" y="696754"/>
                  <a:pt x="484346" y="695801"/>
                </a:cubicBezTo>
                <a:cubicBezTo>
                  <a:pt x="485299" y="697706"/>
                  <a:pt x="486251" y="698659"/>
                  <a:pt x="488156" y="700564"/>
                </a:cubicBezTo>
                <a:cubicBezTo>
                  <a:pt x="487204" y="704374"/>
                  <a:pt x="486251" y="708184"/>
                  <a:pt x="486251" y="712946"/>
                </a:cubicBezTo>
                <a:cubicBezTo>
                  <a:pt x="486251" y="713899"/>
                  <a:pt x="486251" y="714851"/>
                  <a:pt x="486251" y="715804"/>
                </a:cubicBezTo>
                <a:cubicBezTo>
                  <a:pt x="480536" y="707231"/>
                  <a:pt x="471011" y="701516"/>
                  <a:pt x="460534" y="701516"/>
                </a:cubicBezTo>
                <a:cubicBezTo>
                  <a:pt x="450056" y="701516"/>
                  <a:pt x="441484" y="706279"/>
                  <a:pt x="435769" y="714851"/>
                </a:cubicBezTo>
                <a:cubicBezTo>
                  <a:pt x="432911" y="712946"/>
                  <a:pt x="429101" y="711994"/>
                  <a:pt x="426244" y="711041"/>
                </a:cubicBezTo>
                <a:cubicBezTo>
                  <a:pt x="429101" y="708184"/>
                  <a:pt x="431006" y="705326"/>
                  <a:pt x="432911" y="701516"/>
                </a:cubicBezTo>
                <a:cubicBezTo>
                  <a:pt x="435769" y="698659"/>
                  <a:pt x="437674" y="695801"/>
                  <a:pt x="437674" y="691039"/>
                </a:cubicBezTo>
                <a:cubicBezTo>
                  <a:pt x="437674" y="686276"/>
                  <a:pt x="434816" y="681514"/>
                  <a:pt x="431006" y="679609"/>
                </a:cubicBezTo>
                <a:cubicBezTo>
                  <a:pt x="426244" y="672941"/>
                  <a:pt x="418624" y="668179"/>
                  <a:pt x="410051" y="668179"/>
                </a:cubicBezTo>
                <a:cubicBezTo>
                  <a:pt x="408146" y="668179"/>
                  <a:pt x="406241" y="668179"/>
                  <a:pt x="404336" y="669131"/>
                </a:cubicBezTo>
                <a:cubicBezTo>
                  <a:pt x="403384" y="666274"/>
                  <a:pt x="402431" y="663416"/>
                  <a:pt x="401479" y="661511"/>
                </a:cubicBezTo>
                <a:cubicBezTo>
                  <a:pt x="404336" y="657701"/>
                  <a:pt x="407194" y="653891"/>
                  <a:pt x="409099" y="650081"/>
                </a:cubicBezTo>
                <a:cubicBezTo>
                  <a:pt x="410051" y="649129"/>
                  <a:pt x="410051" y="648176"/>
                  <a:pt x="410051" y="647224"/>
                </a:cubicBezTo>
                <a:cubicBezTo>
                  <a:pt x="410051" y="647224"/>
                  <a:pt x="410051" y="647224"/>
                  <a:pt x="410051" y="647224"/>
                </a:cubicBezTo>
                <a:cubicBezTo>
                  <a:pt x="411004" y="643414"/>
                  <a:pt x="411956" y="638651"/>
                  <a:pt x="411956" y="634841"/>
                </a:cubicBezTo>
                <a:cubicBezTo>
                  <a:pt x="411956" y="611981"/>
                  <a:pt x="392906" y="592931"/>
                  <a:pt x="370046" y="592931"/>
                </a:cubicBezTo>
                <a:cubicBezTo>
                  <a:pt x="366236" y="592931"/>
                  <a:pt x="363379" y="593884"/>
                  <a:pt x="360521" y="593884"/>
                </a:cubicBezTo>
                <a:cubicBezTo>
                  <a:pt x="361474" y="591979"/>
                  <a:pt x="362426" y="590074"/>
                  <a:pt x="362426" y="588169"/>
                </a:cubicBezTo>
                <a:cubicBezTo>
                  <a:pt x="362426" y="581501"/>
                  <a:pt x="356711" y="576739"/>
                  <a:pt x="350996" y="576739"/>
                </a:cubicBezTo>
                <a:cubicBezTo>
                  <a:pt x="347186" y="576739"/>
                  <a:pt x="344329" y="578644"/>
                  <a:pt x="342424" y="580549"/>
                </a:cubicBezTo>
                <a:cubicBezTo>
                  <a:pt x="340519" y="579596"/>
                  <a:pt x="338614" y="578644"/>
                  <a:pt x="335756" y="578644"/>
                </a:cubicBezTo>
                <a:cubicBezTo>
                  <a:pt x="329089" y="578644"/>
                  <a:pt x="324326" y="583406"/>
                  <a:pt x="324326" y="590074"/>
                </a:cubicBezTo>
                <a:cubicBezTo>
                  <a:pt x="324326" y="596741"/>
                  <a:pt x="329089" y="601504"/>
                  <a:pt x="335756" y="601504"/>
                </a:cubicBezTo>
                <a:cubicBezTo>
                  <a:pt x="339566" y="601504"/>
                  <a:pt x="342424" y="599599"/>
                  <a:pt x="344329" y="597694"/>
                </a:cubicBezTo>
                <a:cubicBezTo>
                  <a:pt x="345281" y="598646"/>
                  <a:pt x="346234" y="598646"/>
                  <a:pt x="348139" y="599599"/>
                </a:cubicBezTo>
                <a:cubicBezTo>
                  <a:pt x="331946" y="597694"/>
                  <a:pt x="324326" y="611029"/>
                  <a:pt x="324326" y="625316"/>
                </a:cubicBezTo>
                <a:cubicBezTo>
                  <a:pt x="324326" y="626269"/>
                  <a:pt x="324326" y="626269"/>
                  <a:pt x="324326" y="627221"/>
                </a:cubicBezTo>
                <a:cubicBezTo>
                  <a:pt x="321469" y="629126"/>
                  <a:pt x="318611" y="631031"/>
                  <a:pt x="316706" y="633889"/>
                </a:cubicBezTo>
                <a:cubicBezTo>
                  <a:pt x="316706" y="633889"/>
                  <a:pt x="316706" y="633889"/>
                  <a:pt x="316706" y="633889"/>
                </a:cubicBezTo>
                <a:cubicBezTo>
                  <a:pt x="316706" y="632936"/>
                  <a:pt x="316706" y="631984"/>
                  <a:pt x="316706" y="631031"/>
                </a:cubicBezTo>
                <a:cubicBezTo>
                  <a:pt x="316706" y="625316"/>
                  <a:pt x="313849" y="620554"/>
                  <a:pt x="310039" y="616744"/>
                </a:cubicBezTo>
                <a:cubicBezTo>
                  <a:pt x="310039" y="609124"/>
                  <a:pt x="303371" y="602456"/>
                  <a:pt x="294799" y="602456"/>
                </a:cubicBezTo>
                <a:cubicBezTo>
                  <a:pt x="286226" y="602456"/>
                  <a:pt x="279559" y="609124"/>
                  <a:pt x="279559" y="617696"/>
                </a:cubicBezTo>
                <a:cubicBezTo>
                  <a:pt x="279559" y="619601"/>
                  <a:pt x="280511" y="621506"/>
                  <a:pt x="280511" y="623411"/>
                </a:cubicBezTo>
                <a:cubicBezTo>
                  <a:pt x="279559" y="625316"/>
                  <a:pt x="278606" y="628174"/>
                  <a:pt x="278606" y="631031"/>
                </a:cubicBezTo>
                <a:cubicBezTo>
                  <a:pt x="278606" y="641509"/>
                  <a:pt x="287179" y="650081"/>
                  <a:pt x="297656" y="650081"/>
                </a:cubicBezTo>
                <a:cubicBezTo>
                  <a:pt x="302419" y="650081"/>
                  <a:pt x="306229" y="648176"/>
                  <a:pt x="310039" y="645319"/>
                </a:cubicBezTo>
                <a:cubicBezTo>
                  <a:pt x="310039" y="645319"/>
                  <a:pt x="310039" y="645319"/>
                  <a:pt x="310991" y="645319"/>
                </a:cubicBezTo>
                <a:cubicBezTo>
                  <a:pt x="310039" y="648176"/>
                  <a:pt x="310039" y="650081"/>
                  <a:pt x="310039" y="652939"/>
                </a:cubicBezTo>
                <a:cubicBezTo>
                  <a:pt x="310039" y="657701"/>
                  <a:pt x="310991" y="662464"/>
                  <a:pt x="312896" y="666274"/>
                </a:cubicBezTo>
                <a:cubicBezTo>
                  <a:pt x="310991" y="666274"/>
                  <a:pt x="310039" y="665321"/>
                  <a:pt x="308134" y="665321"/>
                </a:cubicBezTo>
                <a:cubicBezTo>
                  <a:pt x="306229" y="665321"/>
                  <a:pt x="305276" y="665321"/>
                  <a:pt x="304324" y="666274"/>
                </a:cubicBezTo>
                <a:cubicBezTo>
                  <a:pt x="304324" y="665321"/>
                  <a:pt x="304324" y="665321"/>
                  <a:pt x="304324" y="664369"/>
                </a:cubicBezTo>
                <a:cubicBezTo>
                  <a:pt x="304324" y="656749"/>
                  <a:pt x="297656" y="650081"/>
                  <a:pt x="290036" y="650081"/>
                </a:cubicBezTo>
                <a:cubicBezTo>
                  <a:pt x="282416" y="650081"/>
                  <a:pt x="275749" y="656749"/>
                  <a:pt x="275749" y="664369"/>
                </a:cubicBezTo>
                <a:cubicBezTo>
                  <a:pt x="275749" y="671989"/>
                  <a:pt x="282416" y="678656"/>
                  <a:pt x="290036" y="678656"/>
                </a:cubicBezTo>
                <a:cubicBezTo>
                  <a:pt x="289084" y="680561"/>
                  <a:pt x="289084" y="683419"/>
                  <a:pt x="289084" y="685324"/>
                </a:cubicBezTo>
                <a:cubicBezTo>
                  <a:pt x="289084" y="696754"/>
                  <a:pt x="297656" y="705326"/>
                  <a:pt x="309086" y="705326"/>
                </a:cubicBezTo>
                <a:cubicBezTo>
                  <a:pt x="320516" y="705326"/>
                  <a:pt x="329089" y="696754"/>
                  <a:pt x="329089" y="685324"/>
                </a:cubicBezTo>
                <a:cubicBezTo>
                  <a:pt x="329089" y="683419"/>
                  <a:pt x="329089" y="681514"/>
                  <a:pt x="328136" y="679609"/>
                </a:cubicBezTo>
                <a:cubicBezTo>
                  <a:pt x="330994" y="680561"/>
                  <a:pt x="333851" y="681514"/>
                  <a:pt x="337661" y="682466"/>
                </a:cubicBezTo>
                <a:cubicBezTo>
                  <a:pt x="338614" y="685324"/>
                  <a:pt x="340519" y="688181"/>
                  <a:pt x="342424" y="690086"/>
                </a:cubicBezTo>
                <a:cubicBezTo>
                  <a:pt x="342424" y="692944"/>
                  <a:pt x="343376" y="695801"/>
                  <a:pt x="345281" y="698659"/>
                </a:cubicBezTo>
                <a:cubicBezTo>
                  <a:pt x="345281" y="698659"/>
                  <a:pt x="344329" y="698659"/>
                  <a:pt x="344329" y="698659"/>
                </a:cubicBezTo>
                <a:cubicBezTo>
                  <a:pt x="335756" y="698659"/>
                  <a:pt x="329089" y="705326"/>
                  <a:pt x="329089" y="713899"/>
                </a:cubicBezTo>
                <a:cubicBezTo>
                  <a:pt x="329089" y="714851"/>
                  <a:pt x="329089" y="714851"/>
                  <a:pt x="329089" y="715804"/>
                </a:cubicBezTo>
                <a:cubicBezTo>
                  <a:pt x="328136" y="716756"/>
                  <a:pt x="328136" y="717709"/>
                  <a:pt x="327184" y="719614"/>
                </a:cubicBezTo>
                <a:cubicBezTo>
                  <a:pt x="324326" y="716756"/>
                  <a:pt x="320516" y="715804"/>
                  <a:pt x="316706" y="715804"/>
                </a:cubicBezTo>
                <a:cubicBezTo>
                  <a:pt x="308134" y="715804"/>
                  <a:pt x="300514" y="722471"/>
                  <a:pt x="300514" y="731996"/>
                </a:cubicBezTo>
                <a:cubicBezTo>
                  <a:pt x="300514" y="740569"/>
                  <a:pt x="307181" y="748189"/>
                  <a:pt x="316706" y="748189"/>
                </a:cubicBezTo>
                <a:cubicBezTo>
                  <a:pt x="321469" y="748189"/>
                  <a:pt x="325279" y="746284"/>
                  <a:pt x="328136" y="743426"/>
                </a:cubicBezTo>
                <a:cubicBezTo>
                  <a:pt x="330041" y="746284"/>
                  <a:pt x="331946" y="748189"/>
                  <a:pt x="333851" y="750094"/>
                </a:cubicBezTo>
                <a:cubicBezTo>
                  <a:pt x="333851" y="750094"/>
                  <a:pt x="333851" y="750094"/>
                  <a:pt x="333851" y="750094"/>
                </a:cubicBezTo>
                <a:cubicBezTo>
                  <a:pt x="328136" y="750094"/>
                  <a:pt x="324326" y="754856"/>
                  <a:pt x="324326" y="759619"/>
                </a:cubicBezTo>
                <a:cubicBezTo>
                  <a:pt x="324326" y="764381"/>
                  <a:pt x="329089" y="769144"/>
                  <a:pt x="333851" y="769144"/>
                </a:cubicBezTo>
                <a:cubicBezTo>
                  <a:pt x="336709" y="769144"/>
                  <a:pt x="339566" y="767239"/>
                  <a:pt x="341471" y="765334"/>
                </a:cubicBezTo>
                <a:cubicBezTo>
                  <a:pt x="340519" y="768191"/>
                  <a:pt x="339566" y="772001"/>
                  <a:pt x="339566" y="774859"/>
                </a:cubicBezTo>
                <a:cubicBezTo>
                  <a:pt x="339566" y="779621"/>
                  <a:pt x="340519" y="783431"/>
                  <a:pt x="342424" y="788194"/>
                </a:cubicBezTo>
                <a:cubicBezTo>
                  <a:pt x="338614" y="789146"/>
                  <a:pt x="334804" y="792004"/>
                  <a:pt x="332899" y="794861"/>
                </a:cubicBezTo>
                <a:cubicBezTo>
                  <a:pt x="332899" y="793909"/>
                  <a:pt x="332899" y="793909"/>
                  <a:pt x="332899" y="792956"/>
                </a:cubicBezTo>
                <a:cubicBezTo>
                  <a:pt x="332899" y="782479"/>
                  <a:pt x="324326" y="772954"/>
                  <a:pt x="313849" y="772954"/>
                </a:cubicBezTo>
                <a:cubicBezTo>
                  <a:pt x="312896" y="772001"/>
                  <a:pt x="310991" y="772001"/>
                  <a:pt x="309086" y="772001"/>
                </a:cubicBezTo>
                <a:cubicBezTo>
                  <a:pt x="305276" y="772001"/>
                  <a:pt x="301466" y="774859"/>
                  <a:pt x="299561" y="777716"/>
                </a:cubicBezTo>
                <a:cubicBezTo>
                  <a:pt x="294799" y="781526"/>
                  <a:pt x="292894" y="787241"/>
                  <a:pt x="292894" y="792956"/>
                </a:cubicBezTo>
                <a:cubicBezTo>
                  <a:pt x="292894" y="804386"/>
                  <a:pt x="302419" y="812959"/>
                  <a:pt x="312896" y="812959"/>
                </a:cubicBezTo>
                <a:cubicBezTo>
                  <a:pt x="318611" y="812959"/>
                  <a:pt x="324326" y="810101"/>
                  <a:pt x="328136" y="806291"/>
                </a:cubicBezTo>
                <a:cubicBezTo>
                  <a:pt x="328136" y="807244"/>
                  <a:pt x="328136" y="807244"/>
                  <a:pt x="328136" y="808196"/>
                </a:cubicBezTo>
                <a:cubicBezTo>
                  <a:pt x="328136" y="812959"/>
                  <a:pt x="330041" y="816769"/>
                  <a:pt x="331946" y="820579"/>
                </a:cubicBezTo>
                <a:cubicBezTo>
                  <a:pt x="321469" y="824389"/>
                  <a:pt x="314801" y="832961"/>
                  <a:pt x="314801" y="844391"/>
                </a:cubicBezTo>
                <a:cubicBezTo>
                  <a:pt x="314801" y="858679"/>
                  <a:pt x="326231" y="870109"/>
                  <a:pt x="340519" y="870109"/>
                </a:cubicBezTo>
                <a:cubicBezTo>
                  <a:pt x="344329" y="870109"/>
                  <a:pt x="348139" y="869156"/>
                  <a:pt x="351949" y="867251"/>
                </a:cubicBezTo>
                <a:cubicBezTo>
                  <a:pt x="352901" y="867251"/>
                  <a:pt x="352901" y="867251"/>
                  <a:pt x="353854" y="867251"/>
                </a:cubicBezTo>
                <a:cubicBezTo>
                  <a:pt x="353854" y="868204"/>
                  <a:pt x="352901" y="870109"/>
                  <a:pt x="352901" y="871061"/>
                </a:cubicBezTo>
                <a:cubicBezTo>
                  <a:pt x="352901" y="878681"/>
                  <a:pt x="359569" y="885349"/>
                  <a:pt x="367189" y="885349"/>
                </a:cubicBezTo>
                <a:cubicBezTo>
                  <a:pt x="367189" y="885349"/>
                  <a:pt x="368141" y="885349"/>
                  <a:pt x="368141" y="885349"/>
                </a:cubicBezTo>
                <a:cubicBezTo>
                  <a:pt x="369094" y="887254"/>
                  <a:pt x="370046" y="888206"/>
                  <a:pt x="371951" y="890111"/>
                </a:cubicBezTo>
                <a:cubicBezTo>
                  <a:pt x="371951" y="891064"/>
                  <a:pt x="372904" y="891064"/>
                  <a:pt x="372904" y="892016"/>
                </a:cubicBezTo>
                <a:cubicBezTo>
                  <a:pt x="370999" y="891064"/>
                  <a:pt x="369094" y="890111"/>
                  <a:pt x="367189" y="890111"/>
                </a:cubicBezTo>
                <a:cubicBezTo>
                  <a:pt x="362426" y="890111"/>
                  <a:pt x="358616" y="893921"/>
                  <a:pt x="358616" y="898684"/>
                </a:cubicBezTo>
                <a:cubicBezTo>
                  <a:pt x="358616" y="903446"/>
                  <a:pt x="362426" y="907256"/>
                  <a:pt x="367189" y="907256"/>
                </a:cubicBezTo>
                <a:cubicBezTo>
                  <a:pt x="371951" y="907256"/>
                  <a:pt x="375761" y="903446"/>
                  <a:pt x="375761" y="898684"/>
                </a:cubicBezTo>
                <a:cubicBezTo>
                  <a:pt x="375761" y="896779"/>
                  <a:pt x="374809" y="894874"/>
                  <a:pt x="373856" y="892969"/>
                </a:cubicBezTo>
                <a:cubicBezTo>
                  <a:pt x="376714" y="896779"/>
                  <a:pt x="381476" y="899636"/>
                  <a:pt x="386239" y="899636"/>
                </a:cubicBezTo>
                <a:cubicBezTo>
                  <a:pt x="386239" y="899636"/>
                  <a:pt x="386239" y="899636"/>
                  <a:pt x="386239" y="899636"/>
                </a:cubicBezTo>
                <a:cubicBezTo>
                  <a:pt x="391954" y="912019"/>
                  <a:pt x="404336" y="920591"/>
                  <a:pt x="417671" y="920591"/>
                </a:cubicBezTo>
                <a:cubicBezTo>
                  <a:pt x="417671" y="920591"/>
                  <a:pt x="417671" y="920591"/>
                  <a:pt x="417671" y="920591"/>
                </a:cubicBezTo>
                <a:cubicBezTo>
                  <a:pt x="418624" y="923449"/>
                  <a:pt x="421481" y="926306"/>
                  <a:pt x="425291" y="926306"/>
                </a:cubicBezTo>
                <a:cubicBezTo>
                  <a:pt x="428149" y="926306"/>
                  <a:pt x="430054" y="925354"/>
                  <a:pt x="431006" y="923449"/>
                </a:cubicBezTo>
                <a:cubicBezTo>
                  <a:pt x="432911" y="924401"/>
                  <a:pt x="433864" y="924401"/>
                  <a:pt x="435769" y="924401"/>
                </a:cubicBezTo>
                <a:cubicBezTo>
                  <a:pt x="440531" y="924401"/>
                  <a:pt x="445294" y="921544"/>
                  <a:pt x="447199" y="916781"/>
                </a:cubicBezTo>
                <a:cubicBezTo>
                  <a:pt x="448151" y="916781"/>
                  <a:pt x="449104" y="917734"/>
                  <a:pt x="450056" y="917734"/>
                </a:cubicBezTo>
                <a:cubicBezTo>
                  <a:pt x="450056" y="918686"/>
                  <a:pt x="449104" y="920591"/>
                  <a:pt x="449104" y="922496"/>
                </a:cubicBezTo>
                <a:cubicBezTo>
                  <a:pt x="449104" y="928211"/>
                  <a:pt x="451009" y="932974"/>
                  <a:pt x="454819" y="935831"/>
                </a:cubicBezTo>
                <a:cubicBezTo>
                  <a:pt x="454819" y="935831"/>
                  <a:pt x="454819" y="935831"/>
                  <a:pt x="454819" y="935831"/>
                </a:cubicBezTo>
                <a:cubicBezTo>
                  <a:pt x="452914" y="935831"/>
                  <a:pt x="451009" y="935831"/>
                  <a:pt x="449104" y="936784"/>
                </a:cubicBezTo>
                <a:cubicBezTo>
                  <a:pt x="446246" y="935831"/>
                  <a:pt x="442436" y="934879"/>
                  <a:pt x="438626" y="934879"/>
                </a:cubicBezTo>
                <a:cubicBezTo>
                  <a:pt x="430054" y="934879"/>
                  <a:pt x="422434" y="937736"/>
                  <a:pt x="415766" y="942499"/>
                </a:cubicBezTo>
                <a:cubicBezTo>
                  <a:pt x="415766" y="941546"/>
                  <a:pt x="415766" y="940594"/>
                  <a:pt x="415766" y="939641"/>
                </a:cubicBezTo>
                <a:cubicBezTo>
                  <a:pt x="415766" y="932021"/>
                  <a:pt x="410051" y="925354"/>
                  <a:pt x="401479" y="925354"/>
                </a:cubicBezTo>
                <a:cubicBezTo>
                  <a:pt x="393859" y="925354"/>
                  <a:pt x="387191" y="932021"/>
                  <a:pt x="387191" y="939641"/>
                </a:cubicBezTo>
                <a:cubicBezTo>
                  <a:pt x="387191" y="947261"/>
                  <a:pt x="393859" y="953929"/>
                  <a:pt x="401479" y="953929"/>
                </a:cubicBezTo>
                <a:cubicBezTo>
                  <a:pt x="402431" y="953929"/>
                  <a:pt x="403384" y="953929"/>
                  <a:pt x="405289" y="953929"/>
                </a:cubicBezTo>
                <a:cubicBezTo>
                  <a:pt x="401479" y="959644"/>
                  <a:pt x="399574" y="966311"/>
                  <a:pt x="399574" y="973931"/>
                </a:cubicBezTo>
                <a:cubicBezTo>
                  <a:pt x="397669" y="973931"/>
                  <a:pt x="395764" y="972979"/>
                  <a:pt x="392906" y="972979"/>
                </a:cubicBezTo>
                <a:cubicBezTo>
                  <a:pt x="374809" y="972979"/>
                  <a:pt x="359569" y="988219"/>
                  <a:pt x="359569" y="1006316"/>
                </a:cubicBezTo>
                <a:cubicBezTo>
                  <a:pt x="359569" y="1024414"/>
                  <a:pt x="374809" y="1039654"/>
                  <a:pt x="392906" y="1039654"/>
                </a:cubicBezTo>
                <a:cubicBezTo>
                  <a:pt x="396716" y="1039654"/>
                  <a:pt x="400526" y="1038701"/>
                  <a:pt x="404336" y="1037749"/>
                </a:cubicBezTo>
                <a:cubicBezTo>
                  <a:pt x="405289" y="1038701"/>
                  <a:pt x="407194" y="1038701"/>
                  <a:pt x="409099" y="1038701"/>
                </a:cubicBezTo>
                <a:cubicBezTo>
                  <a:pt x="414814" y="1038701"/>
                  <a:pt x="418624" y="1034891"/>
                  <a:pt x="418624" y="1029176"/>
                </a:cubicBezTo>
                <a:cubicBezTo>
                  <a:pt x="418624" y="1029176"/>
                  <a:pt x="418624" y="1028224"/>
                  <a:pt x="418624" y="1028224"/>
                </a:cubicBezTo>
                <a:cubicBezTo>
                  <a:pt x="419576" y="1027271"/>
                  <a:pt x="420529" y="1025366"/>
                  <a:pt x="421481" y="1024414"/>
                </a:cubicBezTo>
                <a:cubicBezTo>
                  <a:pt x="422434" y="1025366"/>
                  <a:pt x="423386" y="1025366"/>
                  <a:pt x="424339" y="1026319"/>
                </a:cubicBezTo>
                <a:cubicBezTo>
                  <a:pt x="426244" y="1030129"/>
                  <a:pt x="429101" y="1033939"/>
                  <a:pt x="432911" y="1035844"/>
                </a:cubicBezTo>
                <a:cubicBezTo>
                  <a:pt x="431006" y="1036796"/>
                  <a:pt x="429101" y="1039654"/>
                  <a:pt x="429101" y="1042511"/>
                </a:cubicBezTo>
                <a:cubicBezTo>
                  <a:pt x="429101" y="1046321"/>
                  <a:pt x="431959" y="1050131"/>
                  <a:pt x="436721" y="1050131"/>
                </a:cubicBezTo>
                <a:cubicBezTo>
                  <a:pt x="440531" y="1050131"/>
                  <a:pt x="444341" y="1047274"/>
                  <a:pt x="444341" y="1042511"/>
                </a:cubicBezTo>
                <a:cubicBezTo>
                  <a:pt x="444341" y="1040606"/>
                  <a:pt x="443389" y="1038701"/>
                  <a:pt x="442436" y="1037749"/>
                </a:cubicBezTo>
                <a:cubicBezTo>
                  <a:pt x="444341" y="1037749"/>
                  <a:pt x="446246" y="1036796"/>
                  <a:pt x="447199" y="1036796"/>
                </a:cubicBezTo>
                <a:cubicBezTo>
                  <a:pt x="449104" y="1038701"/>
                  <a:pt x="451009" y="1040606"/>
                  <a:pt x="452914" y="1042511"/>
                </a:cubicBezTo>
                <a:cubicBezTo>
                  <a:pt x="451009" y="1044416"/>
                  <a:pt x="449104" y="1046321"/>
                  <a:pt x="447199" y="1048226"/>
                </a:cubicBezTo>
                <a:cubicBezTo>
                  <a:pt x="447199" y="1048226"/>
                  <a:pt x="447199" y="1048226"/>
                  <a:pt x="447199" y="1048226"/>
                </a:cubicBezTo>
                <a:cubicBezTo>
                  <a:pt x="434816" y="1048226"/>
                  <a:pt x="424339" y="1058704"/>
                  <a:pt x="424339" y="1071086"/>
                </a:cubicBezTo>
                <a:cubicBezTo>
                  <a:pt x="424339" y="1072991"/>
                  <a:pt x="424339" y="1074896"/>
                  <a:pt x="425291" y="1076801"/>
                </a:cubicBezTo>
                <a:cubicBezTo>
                  <a:pt x="421481" y="1073944"/>
                  <a:pt x="416719" y="1072991"/>
                  <a:pt x="412909" y="1072991"/>
                </a:cubicBezTo>
                <a:cubicBezTo>
                  <a:pt x="399574" y="1072991"/>
                  <a:pt x="389096" y="1083469"/>
                  <a:pt x="389096" y="1096804"/>
                </a:cubicBezTo>
                <a:cubicBezTo>
                  <a:pt x="389096" y="1097756"/>
                  <a:pt x="389096" y="1097756"/>
                  <a:pt x="389096" y="1098709"/>
                </a:cubicBezTo>
                <a:cubicBezTo>
                  <a:pt x="389096" y="1098709"/>
                  <a:pt x="389096" y="1098709"/>
                  <a:pt x="389096" y="1098709"/>
                </a:cubicBezTo>
                <a:cubicBezTo>
                  <a:pt x="387191" y="1093946"/>
                  <a:pt x="382429" y="1091089"/>
                  <a:pt x="377666" y="1091089"/>
                </a:cubicBezTo>
                <a:cubicBezTo>
                  <a:pt x="375761" y="1091089"/>
                  <a:pt x="373856" y="1092041"/>
                  <a:pt x="371951" y="1092994"/>
                </a:cubicBezTo>
                <a:cubicBezTo>
                  <a:pt x="373856" y="1090136"/>
                  <a:pt x="374809" y="1086326"/>
                  <a:pt x="374809" y="1082516"/>
                </a:cubicBezTo>
                <a:cubicBezTo>
                  <a:pt x="374809" y="1078706"/>
                  <a:pt x="373856" y="1074896"/>
                  <a:pt x="371951" y="1072039"/>
                </a:cubicBezTo>
                <a:cubicBezTo>
                  <a:pt x="372904" y="1072039"/>
                  <a:pt x="374809" y="1072991"/>
                  <a:pt x="375761" y="1072991"/>
                </a:cubicBezTo>
                <a:cubicBezTo>
                  <a:pt x="382429" y="1072991"/>
                  <a:pt x="388144" y="1067276"/>
                  <a:pt x="388144" y="1060609"/>
                </a:cubicBezTo>
                <a:cubicBezTo>
                  <a:pt x="388144" y="1060609"/>
                  <a:pt x="388144" y="1060609"/>
                  <a:pt x="388144" y="1060609"/>
                </a:cubicBezTo>
                <a:cubicBezTo>
                  <a:pt x="389096" y="1058704"/>
                  <a:pt x="390049" y="1056799"/>
                  <a:pt x="390049" y="1054894"/>
                </a:cubicBezTo>
                <a:cubicBezTo>
                  <a:pt x="390049" y="1050131"/>
                  <a:pt x="386239" y="1046321"/>
                  <a:pt x="381476" y="1046321"/>
                </a:cubicBezTo>
                <a:cubicBezTo>
                  <a:pt x="379571" y="1046321"/>
                  <a:pt x="377666" y="1047274"/>
                  <a:pt x="375761" y="1048226"/>
                </a:cubicBezTo>
                <a:cubicBezTo>
                  <a:pt x="375761" y="1048226"/>
                  <a:pt x="375761" y="1048226"/>
                  <a:pt x="374809" y="1048226"/>
                </a:cubicBezTo>
                <a:cubicBezTo>
                  <a:pt x="368141" y="1048226"/>
                  <a:pt x="362426" y="1053941"/>
                  <a:pt x="362426" y="1060609"/>
                </a:cubicBezTo>
                <a:cubicBezTo>
                  <a:pt x="362426" y="1062514"/>
                  <a:pt x="362426" y="1063466"/>
                  <a:pt x="363379" y="1065371"/>
                </a:cubicBezTo>
                <a:cubicBezTo>
                  <a:pt x="360521" y="1063466"/>
                  <a:pt x="357664" y="1062514"/>
                  <a:pt x="353854" y="1062514"/>
                </a:cubicBezTo>
                <a:cubicBezTo>
                  <a:pt x="342424" y="1062514"/>
                  <a:pt x="333851" y="1072039"/>
                  <a:pt x="333851" y="1082516"/>
                </a:cubicBezTo>
                <a:cubicBezTo>
                  <a:pt x="333851" y="1087279"/>
                  <a:pt x="335756" y="1091089"/>
                  <a:pt x="338614" y="1094899"/>
                </a:cubicBezTo>
                <a:cubicBezTo>
                  <a:pt x="337661" y="1094899"/>
                  <a:pt x="337661" y="1094899"/>
                  <a:pt x="336709" y="1094899"/>
                </a:cubicBezTo>
                <a:cubicBezTo>
                  <a:pt x="330994" y="1094899"/>
                  <a:pt x="327184" y="1099661"/>
                  <a:pt x="327184" y="1104424"/>
                </a:cubicBezTo>
                <a:cubicBezTo>
                  <a:pt x="327184" y="1105376"/>
                  <a:pt x="327184" y="1106329"/>
                  <a:pt x="328136" y="1107281"/>
                </a:cubicBezTo>
                <a:cubicBezTo>
                  <a:pt x="327184" y="1107281"/>
                  <a:pt x="325279" y="1107281"/>
                  <a:pt x="324326" y="1108234"/>
                </a:cubicBezTo>
                <a:cubicBezTo>
                  <a:pt x="324326" y="1108234"/>
                  <a:pt x="324326" y="1108234"/>
                  <a:pt x="324326" y="1108234"/>
                </a:cubicBezTo>
                <a:cubicBezTo>
                  <a:pt x="324326" y="1108234"/>
                  <a:pt x="323374" y="1108234"/>
                  <a:pt x="323374" y="1108234"/>
                </a:cubicBezTo>
                <a:cubicBezTo>
                  <a:pt x="325279" y="1106329"/>
                  <a:pt x="326231" y="1103471"/>
                  <a:pt x="326231" y="1100614"/>
                </a:cubicBezTo>
                <a:cubicBezTo>
                  <a:pt x="326231" y="1092994"/>
                  <a:pt x="319564" y="1086326"/>
                  <a:pt x="311944" y="1086326"/>
                </a:cubicBezTo>
                <a:cubicBezTo>
                  <a:pt x="310039" y="1086326"/>
                  <a:pt x="308134" y="1086326"/>
                  <a:pt x="307181" y="1087279"/>
                </a:cubicBezTo>
                <a:cubicBezTo>
                  <a:pt x="309086" y="1085374"/>
                  <a:pt x="310039" y="1083469"/>
                  <a:pt x="310991" y="1080611"/>
                </a:cubicBezTo>
                <a:cubicBezTo>
                  <a:pt x="311944" y="1080611"/>
                  <a:pt x="311944" y="1080611"/>
                  <a:pt x="312896" y="1080611"/>
                </a:cubicBezTo>
                <a:cubicBezTo>
                  <a:pt x="330041" y="1080611"/>
                  <a:pt x="343376" y="1067276"/>
                  <a:pt x="343376" y="1050131"/>
                </a:cubicBezTo>
                <a:cubicBezTo>
                  <a:pt x="343376" y="1048226"/>
                  <a:pt x="343376" y="1046321"/>
                  <a:pt x="342424" y="1044416"/>
                </a:cubicBezTo>
                <a:cubicBezTo>
                  <a:pt x="347186" y="1042511"/>
                  <a:pt x="350996" y="1037749"/>
                  <a:pt x="350996" y="1032034"/>
                </a:cubicBezTo>
                <a:cubicBezTo>
                  <a:pt x="350996" y="1024414"/>
                  <a:pt x="345281" y="1018699"/>
                  <a:pt x="337661" y="1018699"/>
                </a:cubicBezTo>
                <a:cubicBezTo>
                  <a:pt x="333851" y="1018699"/>
                  <a:pt x="330041" y="1020604"/>
                  <a:pt x="327184" y="1023461"/>
                </a:cubicBezTo>
                <a:cubicBezTo>
                  <a:pt x="325279" y="1022509"/>
                  <a:pt x="324326" y="1021556"/>
                  <a:pt x="322421" y="1021556"/>
                </a:cubicBezTo>
                <a:cubicBezTo>
                  <a:pt x="322421" y="1021556"/>
                  <a:pt x="322421" y="1020604"/>
                  <a:pt x="322421" y="1020604"/>
                </a:cubicBezTo>
                <a:cubicBezTo>
                  <a:pt x="327184" y="1016794"/>
                  <a:pt x="330041" y="1012031"/>
                  <a:pt x="330041" y="1005364"/>
                </a:cubicBezTo>
                <a:cubicBezTo>
                  <a:pt x="330041" y="995839"/>
                  <a:pt x="322421" y="988219"/>
                  <a:pt x="312896" y="987266"/>
                </a:cubicBezTo>
                <a:cubicBezTo>
                  <a:pt x="314801" y="985361"/>
                  <a:pt x="316706" y="982504"/>
                  <a:pt x="317659" y="978694"/>
                </a:cubicBezTo>
                <a:cubicBezTo>
                  <a:pt x="321469" y="976789"/>
                  <a:pt x="325279" y="973931"/>
                  <a:pt x="328136" y="971074"/>
                </a:cubicBezTo>
                <a:cubicBezTo>
                  <a:pt x="332899" y="974884"/>
                  <a:pt x="338614" y="976789"/>
                  <a:pt x="345281" y="976789"/>
                </a:cubicBezTo>
                <a:cubicBezTo>
                  <a:pt x="361474" y="976789"/>
                  <a:pt x="374809" y="963454"/>
                  <a:pt x="374809" y="947261"/>
                </a:cubicBezTo>
                <a:cubicBezTo>
                  <a:pt x="374809" y="932974"/>
                  <a:pt x="364331" y="921544"/>
                  <a:pt x="350996" y="918686"/>
                </a:cubicBezTo>
                <a:cubicBezTo>
                  <a:pt x="350996" y="917734"/>
                  <a:pt x="350044" y="916781"/>
                  <a:pt x="350044" y="915829"/>
                </a:cubicBezTo>
                <a:cubicBezTo>
                  <a:pt x="354806" y="913924"/>
                  <a:pt x="357664" y="909161"/>
                  <a:pt x="357664" y="903446"/>
                </a:cubicBezTo>
                <a:cubicBezTo>
                  <a:pt x="357664" y="895826"/>
                  <a:pt x="351949" y="890111"/>
                  <a:pt x="344329" y="890111"/>
                </a:cubicBezTo>
                <a:cubicBezTo>
                  <a:pt x="336709" y="890111"/>
                  <a:pt x="330994" y="895826"/>
                  <a:pt x="330994" y="903446"/>
                </a:cubicBezTo>
                <a:cubicBezTo>
                  <a:pt x="330994" y="905351"/>
                  <a:pt x="330994" y="906304"/>
                  <a:pt x="331946" y="908209"/>
                </a:cubicBezTo>
                <a:cubicBezTo>
                  <a:pt x="327184" y="910114"/>
                  <a:pt x="324326" y="913924"/>
                  <a:pt x="323374" y="918686"/>
                </a:cubicBezTo>
                <a:cubicBezTo>
                  <a:pt x="317659" y="914876"/>
                  <a:pt x="310991" y="912971"/>
                  <a:pt x="304324" y="912971"/>
                </a:cubicBezTo>
                <a:cubicBezTo>
                  <a:pt x="295751" y="912971"/>
                  <a:pt x="287179" y="916781"/>
                  <a:pt x="281464" y="921544"/>
                </a:cubicBezTo>
                <a:cubicBezTo>
                  <a:pt x="281464" y="921544"/>
                  <a:pt x="281464" y="920591"/>
                  <a:pt x="281464" y="920591"/>
                </a:cubicBezTo>
                <a:cubicBezTo>
                  <a:pt x="281464" y="907256"/>
                  <a:pt x="270034" y="895826"/>
                  <a:pt x="256699" y="895826"/>
                </a:cubicBezTo>
                <a:cubicBezTo>
                  <a:pt x="254794" y="895826"/>
                  <a:pt x="252889" y="895826"/>
                  <a:pt x="251936" y="896779"/>
                </a:cubicBezTo>
                <a:cubicBezTo>
                  <a:pt x="250984" y="886301"/>
                  <a:pt x="244316" y="877729"/>
                  <a:pt x="234791" y="872966"/>
                </a:cubicBezTo>
                <a:cubicBezTo>
                  <a:pt x="234791" y="872966"/>
                  <a:pt x="234791" y="872966"/>
                  <a:pt x="234791" y="872966"/>
                </a:cubicBezTo>
                <a:cubicBezTo>
                  <a:pt x="244316" y="872966"/>
                  <a:pt x="250984" y="865346"/>
                  <a:pt x="250984" y="856774"/>
                </a:cubicBezTo>
                <a:cubicBezTo>
                  <a:pt x="250984" y="847249"/>
                  <a:pt x="243364" y="840581"/>
                  <a:pt x="234791" y="840581"/>
                </a:cubicBezTo>
                <a:cubicBezTo>
                  <a:pt x="226219" y="840581"/>
                  <a:pt x="218599" y="848201"/>
                  <a:pt x="218599" y="856774"/>
                </a:cubicBezTo>
                <a:cubicBezTo>
                  <a:pt x="218599" y="862489"/>
                  <a:pt x="222409" y="868204"/>
                  <a:pt x="227171" y="871061"/>
                </a:cubicBezTo>
                <a:cubicBezTo>
                  <a:pt x="226219" y="871061"/>
                  <a:pt x="224314" y="871061"/>
                  <a:pt x="223361" y="871061"/>
                </a:cubicBezTo>
                <a:cubicBezTo>
                  <a:pt x="221456" y="871061"/>
                  <a:pt x="218599" y="871061"/>
                  <a:pt x="216694" y="872014"/>
                </a:cubicBezTo>
                <a:cubicBezTo>
                  <a:pt x="215741" y="871061"/>
                  <a:pt x="214789" y="871061"/>
                  <a:pt x="213836" y="870109"/>
                </a:cubicBezTo>
                <a:cubicBezTo>
                  <a:pt x="211931" y="864394"/>
                  <a:pt x="207169" y="859631"/>
                  <a:pt x="200501" y="859631"/>
                </a:cubicBezTo>
                <a:cubicBezTo>
                  <a:pt x="199549" y="859631"/>
                  <a:pt x="197644" y="859631"/>
                  <a:pt x="196691" y="860584"/>
                </a:cubicBezTo>
                <a:cubicBezTo>
                  <a:pt x="196691" y="860584"/>
                  <a:pt x="196691" y="860584"/>
                  <a:pt x="196691" y="860584"/>
                </a:cubicBezTo>
                <a:cubicBezTo>
                  <a:pt x="196691" y="856774"/>
                  <a:pt x="195739" y="852964"/>
                  <a:pt x="194786" y="849154"/>
                </a:cubicBezTo>
                <a:cubicBezTo>
                  <a:pt x="196691" y="847249"/>
                  <a:pt x="197644" y="845344"/>
                  <a:pt x="198596" y="842486"/>
                </a:cubicBezTo>
                <a:cubicBezTo>
                  <a:pt x="201454" y="838676"/>
                  <a:pt x="203359" y="832961"/>
                  <a:pt x="203359" y="827246"/>
                </a:cubicBezTo>
                <a:cubicBezTo>
                  <a:pt x="203359" y="823436"/>
                  <a:pt x="202406" y="819626"/>
                  <a:pt x="200501" y="815816"/>
                </a:cubicBezTo>
                <a:cubicBezTo>
                  <a:pt x="202406" y="815816"/>
                  <a:pt x="203359" y="816769"/>
                  <a:pt x="205264" y="816769"/>
                </a:cubicBezTo>
                <a:cubicBezTo>
                  <a:pt x="216694" y="816769"/>
                  <a:pt x="226219" y="807244"/>
                  <a:pt x="226219" y="795814"/>
                </a:cubicBezTo>
                <a:cubicBezTo>
                  <a:pt x="226219" y="784384"/>
                  <a:pt x="216694" y="774859"/>
                  <a:pt x="205264" y="774859"/>
                </a:cubicBezTo>
                <a:cubicBezTo>
                  <a:pt x="193834" y="774859"/>
                  <a:pt x="184309" y="784384"/>
                  <a:pt x="184309" y="795814"/>
                </a:cubicBezTo>
                <a:cubicBezTo>
                  <a:pt x="184309" y="798671"/>
                  <a:pt x="185261" y="801529"/>
                  <a:pt x="186214" y="803434"/>
                </a:cubicBezTo>
                <a:cubicBezTo>
                  <a:pt x="183356" y="802481"/>
                  <a:pt x="180499" y="802481"/>
                  <a:pt x="177641" y="802481"/>
                </a:cubicBezTo>
                <a:cubicBezTo>
                  <a:pt x="170021" y="802481"/>
                  <a:pt x="162401" y="806291"/>
                  <a:pt x="157639" y="812006"/>
                </a:cubicBezTo>
                <a:cubicBezTo>
                  <a:pt x="153829" y="806291"/>
                  <a:pt x="147161" y="802481"/>
                  <a:pt x="140494" y="802481"/>
                </a:cubicBezTo>
                <a:cubicBezTo>
                  <a:pt x="136684" y="802481"/>
                  <a:pt x="133826" y="803434"/>
                  <a:pt x="130969" y="804386"/>
                </a:cubicBezTo>
                <a:cubicBezTo>
                  <a:pt x="130016" y="798671"/>
                  <a:pt x="126206" y="794861"/>
                  <a:pt x="120491" y="794861"/>
                </a:cubicBezTo>
                <a:cubicBezTo>
                  <a:pt x="116681" y="794861"/>
                  <a:pt x="112871" y="797719"/>
                  <a:pt x="110966" y="800576"/>
                </a:cubicBezTo>
                <a:cubicBezTo>
                  <a:pt x="103346" y="803434"/>
                  <a:pt x="98584" y="811054"/>
                  <a:pt x="98584" y="818674"/>
                </a:cubicBezTo>
                <a:cubicBezTo>
                  <a:pt x="98584" y="829151"/>
                  <a:pt x="107156" y="838676"/>
                  <a:pt x="118586" y="838676"/>
                </a:cubicBezTo>
                <a:cubicBezTo>
                  <a:pt x="121444" y="838676"/>
                  <a:pt x="124301" y="837724"/>
                  <a:pt x="126206" y="836771"/>
                </a:cubicBezTo>
                <a:cubicBezTo>
                  <a:pt x="130016" y="840581"/>
                  <a:pt x="134779" y="842486"/>
                  <a:pt x="140494" y="842486"/>
                </a:cubicBezTo>
                <a:cubicBezTo>
                  <a:pt x="143351" y="842486"/>
                  <a:pt x="146209" y="841534"/>
                  <a:pt x="148114" y="840581"/>
                </a:cubicBezTo>
                <a:cubicBezTo>
                  <a:pt x="144304" y="845344"/>
                  <a:pt x="141446" y="852011"/>
                  <a:pt x="141446" y="858679"/>
                </a:cubicBezTo>
                <a:cubicBezTo>
                  <a:pt x="141446" y="871061"/>
                  <a:pt x="150019" y="881539"/>
                  <a:pt x="161449" y="885349"/>
                </a:cubicBezTo>
                <a:cubicBezTo>
                  <a:pt x="156686" y="892969"/>
                  <a:pt x="153829" y="901541"/>
                  <a:pt x="153829" y="911066"/>
                </a:cubicBezTo>
                <a:cubicBezTo>
                  <a:pt x="153829" y="922496"/>
                  <a:pt x="158591" y="932974"/>
                  <a:pt x="165259" y="940594"/>
                </a:cubicBezTo>
                <a:cubicBezTo>
                  <a:pt x="159544" y="942499"/>
                  <a:pt x="154781" y="948214"/>
                  <a:pt x="154781" y="955834"/>
                </a:cubicBezTo>
                <a:cubicBezTo>
                  <a:pt x="154781" y="964406"/>
                  <a:pt x="161449" y="972026"/>
                  <a:pt x="170974" y="972026"/>
                </a:cubicBezTo>
                <a:cubicBezTo>
                  <a:pt x="179546" y="972026"/>
                  <a:pt x="186214" y="965359"/>
                  <a:pt x="187166" y="957739"/>
                </a:cubicBezTo>
                <a:cubicBezTo>
                  <a:pt x="187166" y="957739"/>
                  <a:pt x="188119" y="957739"/>
                  <a:pt x="188119" y="957739"/>
                </a:cubicBezTo>
                <a:cubicBezTo>
                  <a:pt x="190024" y="957739"/>
                  <a:pt x="191929" y="956786"/>
                  <a:pt x="192881" y="955834"/>
                </a:cubicBezTo>
                <a:cubicBezTo>
                  <a:pt x="194786" y="955834"/>
                  <a:pt x="196691" y="956786"/>
                  <a:pt x="199549" y="956786"/>
                </a:cubicBezTo>
                <a:cubicBezTo>
                  <a:pt x="204311" y="956786"/>
                  <a:pt x="208121" y="955834"/>
                  <a:pt x="211931" y="954881"/>
                </a:cubicBezTo>
                <a:cubicBezTo>
                  <a:pt x="211931" y="954881"/>
                  <a:pt x="211931" y="954881"/>
                  <a:pt x="211931" y="954881"/>
                </a:cubicBezTo>
                <a:cubicBezTo>
                  <a:pt x="218599" y="954881"/>
                  <a:pt x="224314" y="952024"/>
                  <a:pt x="228124" y="948214"/>
                </a:cubicBezTo>
                <a:cubicBezTo>
                  <a:pt x="230029" y="952024"/>
                  <a:pt x="233839" y="954881"/>
                  <a:pt x="237649" y="954881"/>
                </a:cubicBezTo>
                <a:cubicBezTo>
                  <a:pt x="239554" y="954881"/>
                  <a:pt x="240506" y="954881"/>
                  <a:pt x="241459" y="953929"/>
                </a:cubicBezTo>
                <a:cubicBezTo>
                  <a:pt x="245269" y="956786"/>
                  <a:pt x="249079" y="957739"/>
                  <a:pt x="254794" y="957739"/>
                </a:cubicBezTo>
                <a:cubicBezTo>
                  <a:pt x="259556" y="957739"/>
                  <a:pt x="263366" y="956786"/>
                  <a:pt x="267176" y="953929"/>
                </a:cubicBezTo>
                <a:cubicBezTo>
                  <a:pt x="268129" y="953929"/>
                  <a:pt x="268129" y="953929"/>
                  <a:pt x="269081" y="953929"/>
                </a:cubicBezTo>
                <a:cubicBezTo>
                  <a:pt x="270034" y="953929"/>
                  <a:pt x="271939" y="953929"/>
                  <a:pt x="272891" y="952976"/>
                </a:cubicBezTo>
                <a:cubicBezTo>
                  <a:pt x="273844" y="959644"/>
                  <a:pt x="276701" y="965359"/>
                  <a:pt x="281464" y="970121"/>
                </a:cubicBezTo>
                <a:cubicBezTo>
                  <a:pt x="280511" y="970121"/>
                  <a:pt x="278606" y="970121"/>
                  <a:pt x="277654" y="970121"/>
                </a:cubicBezTo>
                <a:cubicBezTo>
                  <a:pt x="276701" y="970121"/>
                  <a:pt x="276701" y="970121"/>
                  <a:pt x="275749" y="970121"/>
                </a:cubicBezTo>
                <a:cubicBezTo>
                  <a:pt x="275749" y="964406"/>
                  <a:pt x="270986" y="959644"/>
                  <a:pt x="265271" y="959644"/>
                </a:cubicBezTo>
                <a:cubicBezTo>
                  <a:pt x="259556" y="959644"/>
                  <a:pt x="254794" y="964406"/>
                  <a:pt x="254794" y="970121"/>
                </a:cubicBezTo>
                <a:cubicBezTo>
                  <a:pt x="254794" y="973931"/>
                  <a:pt x="256699" y="977741"/>
                  <a:pt x="260509" y="979646"/>
                </a:cubicBezTo>
                <a:cubicBezTo>
                  <a:pt x="259556" y="981551"/>
                  <a:pt x="258604" y="983456"/>
                  <a:pt x="257651" y="986314"/>
                </a:cubicBezTo>
                <a:cubicBezTo>
                  <a:pt x="254794" y="984409"/>
                  <a:pt x="250984" y="982504"/>
                  <a:pt x="247174" y="982504"/>
                </a:cubicBezTo>
                <a:cubicBezTo>
                  <a:pt x="246221" y="972979"/>
                  <a:pt x="239554" y="966311"/>
                  <a:pt x="230029" y="966311"/>
                </a:cubicBezTo>
                <a:cubicBezTo>
                  <a:pt x="220504" y="966311"/>
                  <a:pt x="212884" y="973931"/>
                  <a:pt x="212884" y="983456"/>
                </a:cubicBezTo>
                <a:cubicBezTo>
                  <a:pt x="212884" y="986314"/>
                  <a:pt x="213836" y="989171"/>
                  <a:pt x="215741" y="992029"/>
                </a:cubicBezTo>
                <a:cubicBezTo>
                  <a:pt x="210026" y="997744"/>
                  <a:pt x="206216" y="1006316"/>
                  <a:pt x="206216" y="1014889"/>
                </a:cubicBezTo>
                <a:cubicBezTo>
                  <a:pt x="206216" y="1017746"/>
                  <a:pt x="206216" y="1020604"/>
                  <a:pt x="207169" y="1022509"/>
                </a:cubicBezTo>
                <a:cubicBezTo>
                  <a:pt x="205264" y="1022509"/>
                  <a:pt x="203359" y="1021556"/>
                  <a:pt x="200501" y="1021556"/>
                </a:cubicBezTo>
                <a:cubicBezTo>
                  <a:pt x="198596" y="1021556"/>
                  <a:pt x="197644" y="1021556"/>
                  <a:pt x="195739" y="1022509"/>
                </a:cubicBezTo>
                <a:cubicBezTo>
                  <a:pt x="192881" y="1018699"/>
                  <a:pt x="188119" y="1015841"/>
                  <a:pt x="182404" y="1015841"/>
                </a:cubicBezTo>
                <a:cubicBezTo>
                  <a:pt x="172879" y="1015841"/>
                  <a:pt x="165259" y="1023461"/>
                  <a:pt x="165259" y="1032986"/>
                </a:cubicBezTo>
                <a:cubicBezTo>
                  <a:pt x="165259" y="1037749"/>
                  <a:pt x="167164" y="1042511"/>
                  <a:pt x="170974" y="1045369"/>
                </a:cubicBezTo>
                <a:cubicBezTo>
                  <a:pt x="170974" y="1047274"/>
                  <a:pt x="170021" y="1049179"/>
                  <a:pt x="170021" y="1051084"/>
                </a:cubicBezTo>
                <a:cubicBezTo>
                  <a:pt x="170021" y="1052989"/>
                  <a:pt x="170021" y="1055846"/>
                  <a:pt x="170974" y="1057751"/>
                </a:cubicBezTo>
                <a:cubicBezTo>
                  <a:pt x="167164" y="1061561"/>
                  <a:pt x="164306" y="1067276"/>
                  <a:pt x="164306" y="1073944"/>
                </a:cubicBezTo>
                <a:cubicBezTo>
                  <a:pt x="164306" y="1076801"/>
                  <a:pt x="165259" y="1079659"/>
                  <a:pt x="166211" y="1081564"/>
                </a:cubicBezTo>
                <a:cubicBezTo>
                  <a:pt x="165259" y="1081564"/>
                  <a:pt x="164306" y="1081564"/>
                  <a:pt x="162401" y="1081564"/>
                </a:cubicBezTo>
                <a:cubicBezTo>
                  <a:pt x="162401" y="1081564"/>
                  <a:pt x="162401" y="1080611"/>
                  <a:pt x="162401" y="1080611"/>
                </a:cubicBezTo>
                <a:cubicBezTo>
                  <a:pt x="162401" y="1078706"/>
                  <a:pt x="162401" y="1076801"/>
                  <a:pt x="161449" y="1074896"/>
                </a:cubicBezTo>
                <a:cubicBezTo>
                  <a:pt x="161449" y="1072991"/>
                  <a:pt x="162401" y="1072039"/>
                  <a:pt x="162401" y="1070134"/>
                </a:cubicBezTo>
                <a:cubicBezTo>
                  <a:pt x="162401" y="1061561"/>
                  <a:pt x="155734" y="1054894"/>
                  <a:pt x="147161" y="1054894"/>
                </a:cubicBezTo>
                <a:cubicBezTo>
                  <a:pt x="143351" y="1054894"/>
                  <a:pt x="140494" y="1055846"/>
                  <a:pt x="137636" y="1057751"/>
                </a:cubicBezTo>
                <a:cubicBezTo>
                  <a:pt x="126206" y="1058704"/>
                  <a:pt x="116681" y="1068229"/>
                  <a:pt x="116681" y="1080611"/>
                </a:cubicBezTo>
                <a:cubicBezTo>
                  <a:pt x="116681" y="1092041"/>
                  <a:pt x="125254" y="1101566"/>
                  <a:pt x="135731" y="1103471"/>
                </a:cubicBezTo>
                <a:cubicBezTo>
                  <a:pt x="133826" y="1107281"/>
                  <a:pt x="132874" y="1112044"/>
                  <a:pt x="132874" y="1115854"/>
                </a:cubicBezTo>
                <a:cubicBezTo>
                  <a:pt x="132874" y="1132046"/>
                  <a:pt x="143351" y="1144429"/>
                  <a:pt x="157639" y="1149191"/>
                </a:cubicBezTo>
                <a:cubicBezTo>
                  <a:pt x="155734" y="1149191"/>
                  <a:pt x="153829" y="1148239"/>
                  <a:pt x="151924" y="1148239"/>
                </a:cubicBezTo>
                <a:cubicBezTo>
                  <a:pt x="139541" y="1148239"/>
                  <a:pt x="128111" y="1155859"/>
                  <a:pt x="123349" y="1166336"/>
                </a:cubicBezTo>
                <a:cubicBezTo>
                  <a:pt x="118586" y="1160621"/>
                  <a:pt x="110966" y="1157764"/>
                  <a:pt x="102394" y="1157764"/>
                </a:cubicBezTo>
                <a:cubicBezTo>
                  <a:pt x="86201" y="1157764"/>
                  <a:pt x="73819" y="1170146"/>
                  <a:pt x="73819" y="1186339"/>
                </a:cubicBezTo>
                <a:cubicBezTo>
                  <a:pt x="73819" y="1195864"/>
                  <a:pt x="78581" y="1204436"/>
                  <a:pt x="85249" y="1209199"/>
                </a:cubicBezTo>
                <a:cubicBezTo>
                  <a:pt x="85249" y="1209199"/>
                  <a:pt x="85249" y="1209199"/>
                  <a:pt x="85249" y="1210151"/>
                </a:cubicBezTo>
                <a:cubicBezTo>
                  <a:pt x="85249" y="1216819"/>
                  <a:pt x="90011" y="1221581"/>
                  <a:pt x="96679" y="1222534"/>
                </a:cubicBezTo>
                <a:cubicBezTo>
                  <a:pt x="90011" y="1224439"/>
                  <a:pt x="84296" y="1230154"/>
                  <a:pt x="84296" y="1237774"/>
                </a:cubicBezTo>
                <a:cubicBezTo>
                  <a:pt x="84296" y="1246346"/>
                  <a:pt x="90964" y="1253966"/>
                  <a:pt x="100489" y="1253966"/>
                </a:cubicBezTo>
                <a:cubicBezTo>
                  <a:pt x="108109" y="1253966"/>
                  <a:pt x="113824" y="1248251"/>
                  <a:pt x="115729" y="1241584"/>
                </a:cubicBezTo>
                <a:cubicBezTo>
                  <a:pt x="119539" y="1250156"/>
                  <a:pt x="129064" y="1256824"/>
                  <a:pt x="139541" y="1256824"/>
                </a:cubicBezTo>
                <a:cubicBezTo>
                  <a:pt x="139541" y="1256824"/>
                  <a:pt x="140494" y="1256824"/>
                  <a:pt x="140494" y="1256824"/>
                </a:cubicBezTo>
                <a:cubicBezTo>
                  <a:pt x="140494" y="1256824"/>
                  <a:pt x="140494" y="1257776"/>
                  <a:pt x="140494" y="1257776"/>
                </a:cubicBezTo>
                <a:cubicBezTo>
                  <a:pt x="135731" y="1260634"/>
                  <a:pt x="131921" y="1266349"/>
                  <a:pt x="130016" y="1272064"/>
                </a:cubicBezTo>
                <a:cubicBezTo>
                  <a:pt x="124301" y="1269206"/>
                  <a:pt x="117634" y="1267301"/>
                  <a:pt x="110966" y="1267301"/>
                </a:cubicBezTo>
                <a:cubicBezTo>
                  <a:pt x="101441" y="1267301"/>
                  <a:pt x="91916" y="1271111"/>
                  <a:pt x="85249" y="1276826"/>
                </a:cubicBezTo>
                <a:cubicBezTo>
                  <a:pt x="83344" y="1274921"/>
                  <a:pt x="80486" y="1273969"/>
                  <a:pt x="77629" y="1273969"/>
                </a:cubicBezTo>
                <a:cubicBezTo>
                  <a:pt x="70009" y="1273969"/>
                  <a:pt x="64294" y="1279684"/>
                  <a:pt x="64294" y="1287304"/>
                </a:cubicBezTo>
                <a:cubicBezTo>
                  <a:pt x="64294" y="1288256"/>
                  <a:pt x="64294" y="1289209"/>
                  <a:pt x="64294" y="1290161"/>
                </a:cubicBezTo>
                <a:cubicBezTo>
                  <a:pt x="64294" y="1290161"/>
                  <a:pt x="64294" y="1290161"/>
                  <a:pt x="64294" y="1291114"/>
                </a:cubicBezTo>
                <a:cubicBezTo>
                  <a:pt x="62389" y="1291114"/>
                  <a:pt x="61436" y="1290161"/>
                  <a:pt x="59531" y="1290161"/>
                </a:cubicBezTo>
                <a:cubicBezTo>
                  <a:pt x="49054" y="1290161"/>
                  <a:pt x="40481" y="1298734"/>
                  <a:pt x="40481" y="1309211"/>
                </a:cubicBezTo>
                <a:cubicBezTo>
                  <a:pt x="40481" y="1319689"/>
                  <a:pt x="49054" y="1328261"/>
                  <a:pt x="59531" y="1328261"/>
                </a:cubicBezTo>
                <a:cubicBezTo>
                  <a:pt x="65246" y="1328261"/>
                  <a:pt x="70009" y="1326356"/>
                  <a:pt x="73819" y="1322546"/>
                </a:cubicBezTo>
                <a:cubicBezTo>
                  <a:pt x="79534" y="1337786"/>
                  <a:pt x="94774" y="1348264"/>
                  <a:pt x="111919" y="1348264"/>
                </a:cubicBezTo>
                <a:cubicBezTo>
                  <a:pt x="122396" y="1348264"/>
                  <a:pt x="131921" y="1344454"/>
                  <a:pt x="139541" y="1337786"/>
                </a:cubicBezTo>
                <a:cubicBezTo>
                  <a:pt x="137636" y="1339691"/>
                  <a:pt x="136684" y="1342549"/>
                  <a:pt x="136684" y="1345406"/>
                </a:cubicBezTo>
                <a:cubicBezTo>
                  <a:pt x="136684" y="1345406"/>
                  <a:pt x="136684" y="1345406"/>
                  <a:pt x="136684" y="1345406"/>
                </a:cubicBezTo>
                <a:cubicBezTo>
                  <a:pt x="125254" y="1350169"/>
                  <a:pt x="116681" y="1360646"/>
                  <a:pt x="116681" y="1373981"/>
                </a:cubicBezTo>
                <a:cubicBezTo>
                  <a:pt x="116681" y="1380649"/>
                  <a:pt x="119539" y="1387316"/>
                  <a:pt x="123349" y="1393031"/>
                </a:cubicBezTo>
                <a:cubicBezTo>
                  <a:pt x="120491" y="1391126"/>
                  <a:pt x="117634" y="1390174"/>
                  <a:pt x="113824" y="1390174"/>
                </a:cubicBezTo>
                <a:cubicBezTo>
                  <a:pt x="108109" y="1390174"/>
                  <a:pt x="102394" y="1393984"/>
                  <a:pt x="99536" y="1398746"/>
                </a:cubicBezTo>
                <a:cubicBezTo>
                  <a:pt x="99536" y="1398746"/>
                  <a:pt x="99536" y="1398746"/>
                  <a:pt x="98584" y="1398746"/>
                </a:cubicBezTo>
                <a:cubicBezTo>
                  <a:pt x="95726" y="1398746"/>
                  <a:pt x="92869" y="1399699"/>
                  <a:pt x="90964" y="1400651"/>
                </a:cubicBezTo>
                <a:cubicBezTo>
                  <a:pt x="83344" y="1391126"/>
                  <a:pt x="71914" y="1384459"/>
                  <a:pt x="59531" y="1384459"/>
                </a:cubicBezTo>
                <a:cubicBezTo>
                  <a:pt x="50006" y="1384459"/>
                  <a:pt x="40481" y="1388269"/>
                  <a:pt x="33814" y="1393984"/>
                </a:cubicBezTo>
                <a:cubicBezTo>
                  <a:pt x="33814" y="1393984"/>
                  <a:pt x="32861" y="1393984"/>
                  <a:pt x="32861" y="1393984"/>
                </a:cubicBezTo>
                <a:cubicBezTo>
                  <a:pt x="30004" y="1393984"/>
                  <a:pt x="27146" y="1396841"/>
                  <a:pt x="27146" y="1399699"/>
                </a:cubicBezTo>
                <a:cubicBezTo>
                  <a:pt x="27146" y="1400651"/>
                  <a:pt x="27146" y="1400651"/>
                  <a:pt x="27146" y="1400651"/>
                </a:cubicBezTo>
                <a:cubicBezTo>
                  <a:pt x="23336" y="1406366"/>
                  <a:pt x="20479" y="1413034"/>
                  <a:pt x="19526" y="1420654"/>
                </a:cubicBezTo>
                <a:cubicBezTo>
                  <a:pt x="11906" y="1423511"/>
                  <a:pt x="7144" y="1430179"/>
                  <a:pt x="7144" y="1437799"/>
                </a:cubicBezTo>
                <a:cubicBezTo>
                  <a:pt x="7144" y="1448276"/>
                  <a:pt x="15716" y="1456849"/>
                  <a:pt x="26194" y="1456849"/>
                </a:cubicBezTo>
                <a:cubicBezTo>
                  <a:pt x="29051" y="1456849"/>
                  <a:pt x="31909" y="1455896"/>
                  <a:pt x="34766" y="1454944"/>
                </a:cubicBezTo>
                <a:cubicBezTo>
                  <a:pt x="41434" y="1460659"/>
                  <a:pt x="50006" y="1463516"/>
                  <a:pt x="59531" y="1463516"/>
                </a:cubicBezTo>
                <a:cubicBezTo>
                  <a:pt x="79534" y="1463516"/>
                  <a:pt x="96679" y="1448276"/>
                  <a:pt x="98584" y="1429226"/>
                </a:cubicBezTo>
                <a:cubicBezTo>
                  <a:pt x="98584" y="1429226"/>
                  <a:pt x="98584" y="1429226"/>
                  <a:pt x="98584" y="1429226"/>
                </a:cubicBezTo>
                <a:cubicBezTo>
                  <a:pt x="103346" y="1429226"/>
                  <a:pt x="108109" y="1426369"/>
                  <a:pt x="110966" y="1422559"/>
                </a:cubicBezTo>
                <a:cubicBezTo>
                  <a:pt x="111919" y="1422559"/>
                  <a:pt x="112871" y="1422559"/>
                  <a:pt x="112871" y="1422559"/>
                </a:cubicBezTo>
                <a:cubicBezTo>
                  <a:pt x="122396" y="1422559"/>
                  <a:pt x="129064" y="1414939"/>
                  <a:pt x="129064" y="1406366"/>
                </a:cubicBezTo>
                <a:cubicBezTo>
                  <a:pt x="129064" y="1403509"/>
                  <a:pt x="128111" y="1399699"/>
                  <a:pt x="126206" y="1397794"/>
                </a:cubicBezTo>
                <a:cubicBezTo>
                  <a:pt x="131921" y="1402556"/>
                  <a:pt x="138589" y="1405414"/>
                  <a:pt x="146209" y="1405414"/>
                </a:cubicBezTo>
                <a:cubicBezTo>
                  <a:pt x="158591" y="1405414"/>
                  <a:pt x="169069" y="1398746"/>
                  <a:pt x="173831" y="1388269"/>
                </a:cubicBezTo>
                <a:cubicBezTo>
                  <a:pt x="174784" y="1388269"/>
                  <a:pt x="175736" y="1388269"/>
                  <a:pt x="176689" y="1388269"/>
                </a:cubicBezTo>
                <a:cubicBezTo>
                  <a:pt x="176689" y="1388269"/>
                  <a:pt x="177641" y="1388269"/>
                  <a:pt x="177641" y="1388269"/>
                </a:cubicBezTo>
                <a:cubicBezTo>
                  <a:pt x="184309" y="1401604"/>
                  <a:pt x="197644" y="1410176"/>
                  <a:pt x="212884" y="1410176"/>
                </a:cubicBezTo>
                <a:cubicBezTo>
                  <a:pt x="227171" y="1410176"/>
                  <a:pt x="239554" y="1402556"/>
                  <a:pt x="246221" y="1391126"/>
                </a:cubicBezTo>
                <a:cubicBezTo>
                  <a:pt x="246221" y="1391126"/>
                  <a:pt x="247174" y="1391126"/>
                  <a:pt x="247174" y="1391126"/>
                </a:cubicBezTo>
                <a:cubicBezTo>
                  <a:pt x="250984" y="1391126"/>
                  <a:pt x="253841" y="1388269"/>
                  <a:pt x="253841" y="1383506"/>
                </a:cubicBezTo>
                <a:cubicBezTo>
                  <a:pt x="253841" y="1380649"/>
                  <a:pt x="252889" y="1378744"/>
                  <a:pt x="250984" y="1377791"/>
                </a:cubicBezTo>
                <a:cubicBezTo>
                  <a:pt x="251936" y="1374934"/>
                  <a:pt x="251936" y="1373029"/>
                  <a:pt x="251936" y="1370171"/>
                </a:cubicBezTo>
                <a:cubicBezTo>
                  <a:pt x="251936" y="1348264"/>
                  <a:pt x="234791" y="1331119"/>
                  <a:pt x="212884" y="1331119"/>
                </a:cubicBezTo>
                <a:cubicBezTo>
                  <a:pt x="210979" y="1331119"/>
                  <a:pt x="208121" y="1331119"/>
                  <a:pt x="206216" y="1332071"/>
                </a:cubicBezTo>
                <a:cubicBezTo>
                  <a:pt x="204311" y="1331119"/>
                  <a:pt x="201454" y="1331119"/>
                  <a:pt x="199549" y="1331119"/>
                </a:cubicBezTo>
                <a:cubicBezTo>
                  <a:pt x="199549" y="1325404"/>
                  <a:pt x="194786" y="1320641"/>
                  <a:pt x="188119" y="1320641"/>
                </a:cubicBezTo>
                <a:cubicBezTo>
                  <a:pt x="181451" y="1320641"/>
                  <a:pt x="176689" y="1325404"/>
                  <a:pt x="176689" y="1332071"/>
                </a:cubicBezTo>
                <a:cubicBezTo>
                  <a:pt x="176689" y="1332071"/>
                  <a:pt x="176689" y="1333024"/>
                  <a:pt x="176689" y="1333024"/>
                </a:cubicBezTo>
                <a:cubicBezTo>
                  <a:pt x="172879" y="1331119"/>
                  <a:pt x="169069" y="1329214"/>
                  <a:pt x="165259" y="1329214"/>
                </a:cubicBezTo>
                <a:cubicBezTo>
                  <a:pt x="159544" y="1329214"/>
                  <a:pt x="154781" y="1331119"/>
                  <a:pt x="150019" y="1334929"/>
                </a:cubicBezTo>
                <a:cubicBezTo>
                  <a:pt x="149066" y="1334929"/>
                  <a:pt x="148114" y="1333976"/>
                  <a:pt x="147161" y="1333976"/>
                </a:cubicBezTo>
                <a:cubicBezTo>
                  <a:pt x="144304" y="1333976"/>
                  <a:pt x="141446" y="1334929"/>
                  <a:pt x="139541" y="1336834"/>
                </a:cubicBezTo>
                <a:cubicBezTo>
                  <a:pt x="147161" y="1329214"/>
                  <a:pt x="150971" y="1319689"/>
                  <a:pt x="150971" y="1308259"/>
                </a:cubicBezTo>
                <a:cubicBezTo>
                  <a:pt x="150971" y="1306354"/>
                  <a:pt x="150971" y="1305401"/>
                  <a:pt x="150019" y="1303496"/>
                </a:cubicBezTo>
                <a:cubicBezTo>
                  <a:pt x="150971" y="1303496"/>
                  <a:pt x="150971" y="1303496"/>
                  <a:pt x="151924" y="1303496"/>
                </a:cubicBezTo>
                <a:cubicBezTo>
                  <a:pt x="165259" y="1303496"/>
                  <a:pt x="176689" y="1293019"/>
                  <a:pt x="176689" y="1278731"/>
                </a:cubicBezTo>
                <a:cubicBezTo>
                  <a:pt x="176689" y="1266349"/>
                  <a:pt x="167164" y="1255871"/>
                  <a:pt x="153829" y="1254919"/>
                </a:cubicBezTo>
                <a:cubicBezTo>
                  <a:pt x="153829" y="1253966"/>
                  <a:pt x="153829" y="1253014"/>
                  <a:pt x="152876" y="1253014"/>
                </a:cubicBezTo>
                <a:cubicBezTo>
                  <a:pt x="154781" y="1252061"/>
                  <a:pt x="155734" y="1251109"/>
                  <a:pt x="156686" y="1249204"/>
                </a:cubicBezTo>
                <a:cubicBezTo>
                  <a:pt x="164306" y="1247299"/>
                  <a:pt x="170021" y="1240631"/>
                  <a:pt x="170021" y="1233011"/>
                </a:cubicBezTo>
                <a:cubicBezTo>
                  <a:pt x="170021" y="1230154"/>
                  <a:pt x="169069" y="1227296"/>
                  <a:pt x="168116" y="1224439"/>
                </a:cubicBezTo>
                <a:cubicBezTo>
                  <a:pt x="172879" y="1223486"/>
                  <a:pt x="176689" y="1219676"/>
                  <a:pt x="176689" y="1213961"/>
                </a:cubicBezTo>
                <a:cubicBezTo>
                  <a:pt x="176689" y="1209199"/>
                  <a:pt x="173831" y="1206341"/>
                  <a:pt x="170021" y="1204436"/>
                </a:cubicBezTo>
                <a:cubicBezTo>
                  <a:pt x="176689" y="1198721"/>
                  <a:pt x="180499" y="1190149"/>
                  <a:pt x="180499" y="1181576"/>
                </a:cubicBezTo>
                <a:cubicBezTo>
                  <a:pt x="180499" y="1167289"/>
                  <a:pt x="170974" y="1155859"/>
                  <a:pt x="158591" y="1152049"/>
                </a:cubicBezTo>
                <a:cubicBezTo>
                  <a:pt x="160496" y="1152049"/>
                  <a:pt x="162401" y="1153001"/>
                  <a:pt x="165259" y="1153001"/>
                </a:cubicBezTo>
                <a:cubicBezTo>
                  <a:pt x="166211" y="1153001"/>
                  <a:pt x="167164" y="1153001"/>
                  <a:pt x="169069" y="1153001"/>
                </a:cubicBezTo>
                <a:cubicBezTo>
                  <a:pt x="169069" y="1153001"/>
                  <a:pt x="169069" y="1153001"/>
                  <a:pt x="169069" y="1153001"/>
                </a:cubicBezTo>
                <a:cubicBezTo>
                  <a:pt x="169069" y="1157764"/>
                  <a:pt x="172879" y="1161574"/>
                  <a:pt x="177641" y="1161574"/>
                </a:cubicBezTo>
                <a:cubicBezTo>
                  <a:pt x="177641" y="1161574"/>
                  <a:pt x="177641" y="1161574"/>
                  <a:pt x="178594" y="1161574"/>
                </a:cubicBezTo>
                <a:cubicBezTo>
                  <a:pt x="178594" y="1161574"/>
                  <a:pt x="178594" y="1161574"/>
                  <a:pt x="178594" y="1162526"/>
                </a:cubicBezTo>
                <a:cubicBezTo>
                  <a:pt x="178594" y="1170146"/>
                  <a:pt x="182404" y="1176814"/>
                  <a:pt x="188119" y="1180624"/>
                </a:cubicBezTo>
                <a:cubicBezTo>
                  <a:pt x="186214" y="1184434"/>
                  <a:pt x="185261" y="1188244"/>
                  <a:pt x="185261" y="1193006"/>
                </a:cubicBezTo>
                <a:cubicBezTo>
                  <a:pt x="185261" y="1207294"/>
                  <a:pt x="195739" y="1219676"/>
                  <a:pt x="210026" y="1221581"/>
                </a:cubicBezTo>
                <a:cubicBezTo>
                  <a:pt x="207169" y="1222534"/>
                  <a:pt x="205264" y="1226344"/>
                  <a:pt x="205264" y="1229201"/>
                </a:cubicBezTo>
                <a:cubicBezTo>
                  <a:pt x="205264" y="1233964"/>
                  <a:pt x="209074" y="1237774"/>
                  <a:pt x="213836" y="1237774"/>
                </a:cubicBezTo>
                <a:cubicBezTo>
                  <a:pt x="218599" y="1237774"/>
                  <a:pt x="222409" y="1233964"/>
                  <a:pt x="222409" y="1229201"/>
                </a:cubicBezTo>
                <a:cubicBezTo>
                  <a:pt x="222409" y="1225391"/>
                  <a:pt x="220504" y="1222534"/>
                  <a:pt x="217646" y="1221581"/>
                </a:cubicBezTo>
                <a:cubicBezTo>
                  <a:pt x="218599" y="1221581"/>
                  <a:pt x="218599" y="1221581"/>
                  <a:pt x="219551" y="1221581"/>
                </a:cubicBezTo>
                <a:cubicBezTo>
                  <a:pt x="221456" y="1222534"/>
                  <a:pt x="223361" y="1223486"/>
                  <a:pt x="226219" y="1223486"/>
                </a:cubicBezTo>
                <a:cubicBezTo>
                  <a:pt x="233839" y="1223486"/>
                  <a:pt x="239554" y="1217771"/>
                  <a:pt x="239554" y="1210151"/>
                </a:cubicBezTo>
                <a:cubicBezTo>
                  <a:pt x="239554" y="1210151"/>
                  <a:pt x="239554" y="1209199"/>
                  <a:pt x="239554" y="1209199"/>
                </a:cubicBezTo>
                <a:cubicBezTo>
                  <a:pt x="242411" y="1205389"/>
                  <a:pt x="243364" y="1201579"/>
                  <a:pt x="244316" y="1196816"/>
                </a:cubicBezTo>
                <a:cubicBezTo>
                  <a:pt x="245269" y="1196816"/>
                  <a:pt x="245269" y="1196816"/>
                  <a:pt x="246221" y="1196816"/>
                </a:cubicBezTo>
                <a:cubicBezTo>
                  <a:pt x="250984" y="1196816"/>
                  <a:pt x="254794" y="1193006"/>
                  <a:pt x="254794" y="1188244"/>
                </a:cubicBezTo>
                <a:cubicBezTo>
                  <a:pt x="254794" y="1185386"/>
                  <a:pt x="252889" y="1183481"/>
                  <a:pt x="250984" y="1181576"/>
                </a:cubicBezTo>
                <a:cubicBezTo>
                  <a:pt x="255746" y="1180624"/>
                  <a:pt x="259556" y="1176814"/>
                  <a:pt x="259556" y="1172051"/>
                </a:cubicBezTo>
                <a:cubicBezTo>
                  <a:pt x="259556" y="1167289"/>
                  <a:pt x="256699" y="1164431"/>
                  <a:pt x="252889" y="1162526"/>
                </a:cubicBezTo>
                <a:cubicBezTo>
                  <a:pt x="254794" y="1159669"/>
                  <a:pt x="255746" y="1156811"/>
                  <a:pt x="255746" y="1153001"/>
                </a:cubicBezTo>
                <a:cubicBezTo>
                  <a:pt x="255746" y="1144429"/>
                  <a:pt x="249079" y="1136809"/>
                  <a:pt x="239554" y="1136809"/>
                </a:cubicBezTo>
                <a:cubicBezTo>
                  <a:pt x="230981" y="1136809"/>
                  <a:pt x="223361" y="1143476"/>
                  <a:pt x="223361" y="1153001"/>
                </a:cubicBezTo>
                <a:cubicBezTo>
                  <a:pt x="223361" y="1161574"/>
                  <a:pt x="230029" y="1169194"/>
                  <a:pt x="239554" y="1169194"/>
                </a:cubicBezTo>
                <a:cubicBezTo>
                  <a:pt x="239554" y="1169194"/>
                  <a:pt x="240506" y="1169194"/>
                  <a:pt x="240506" y="1169194"/>
                </a:cubicBezTo>
                <a:cubicBezTo>
                  <a:pt x="240506" y="1170146"/>
                  <a:pt x="239554" y="1171099"/>
                  <a:pt x="239554" y="1172051"/>
                </a:cubicBezTo>
                <a:cubicBezTo>
                  <a:pt x="239554" y="1175861"/>
                  <a:pt x="241459" y="1178719"/>
                  <a:pt x="244316" y="1180624"/>
                </a:cubicBezTo>
                <a:cubicBezTo>
                  <a:pt x="243364" y="1180624"/>
                  <a:pt x="242411" y="1180624"/>
                  <a:pt x="241459" y="1181576"/>
                </a:cubicBezTo>
                <a:cubicBezTo>
                  <a:pt x="237649" y="1173956"/>
                  <a:pt x="231934" y="1168241"/>
                  <a:pt x="223361" y="1165384"/>
                </a:cubicBezTo>
                <a:cubicBezTo>
                  <a:pt x="223361" y="1164431"/>
                  <a:pt x="223361" y="1163479"/>
                  <a:pt x="223361" y="1162526"/>
                </a:cubicBezTo>
                <a:cubicBezTo>
                  <a:pt x="223361" y="1150144"/>
                  <a:pt x="213836" y="1140619"/>
                  <a:pt x="201454" y="1140619"/>
                </a:cubicBezTo>
                <a:cubicBezTo>
                  <a:pt x="197644" y="1140619"/>
                  <a:pt x="193834" y="1141571"/>
                  <a:pt x="190976" y="1143476"/>
                </a:cubicBezTo>
                <a:cubicBezTo>
                  <a:pt x="196691" y="1136809"/>
                  <a:pt x="201454" y="1128236"/>
                  <a:pt x="201454" y="1118711"/>
                </a:cubicBezTo>
                <a:cubicBezTo>
                  <a:pt x="201454" y="1115854"/>
                  <a:pt x="201454" y="1113949"/>
                  <a:pt x="200501" y="1111091"/>
                </a:cubicBezTo>
                <a:cubicBezTo>
                  <a:pt x="203359" y="1111091"/>
                  <a:pt x="205264" y="1108234"/>
                  <a:pt x="205264" y="1105376"/>
                </a:cubicBezTo>
                <a:cubicBezTo>
                  <a:pt x="205264" y="1102519"/>
                  <a:pt x="202406" y="1099661"/>
                  <a:pt x="199549" y="1099661"/>
                </a:cubicBezTo>
                <a:cubicBezTo>
                  <a:pt x="198596" y="1099661"/>
                  <a:pt x="197644" y="1099661"/>
                  <a:pt x="196691" y="1100614"/>
                </a:cubicBezTo>
                <a:cubicBezTo>
                  <a:pt x="195739" y="1098709"/>
                  <a:pt x="194786" y="1097756"/>
                  <a:pt x="193834" y="1096804"/>
                </a:cubicBezTo>
                <a:cubicBezTo>
                  <a:pt x="200501" y="1093946"/>
                  <a:pt x="205264" y="1088231"/>
                  <a:pt x="207169" y="1081564"/>
                </a:cubicBezTo>
                <a:cubicBezTo>
                  <a:pt x="219551" y="1077754"/>
                  <a:pt x="228124" y="1066324"/>
                  <a:pt x="228124" y="1052989"/>
                </a:cubicBezTo>
                <a:cubicBezTo>
                  <a:pt x="228124" y="1051084"/>
                  <a:pt x="228124" y="1049179"/>
                  <a:pt x="227171" y="1048226"/>
                </a:cubicBezTo>
                <a:cubicBezTo>
                  <a:pt x="230029" y="1049179"/>
                  <a:pt x="232886" y="1050131"/>
                  <a:pt x="236696" y="1050131"/>
                </a:cubicBezTo>
                <a:cubicBezTo>
                  <a:pt x="245269" y="1050131"/>
                  <a:pt x="251936" y="1047274"/>
                  <a:pt x="257651" y="1042511"/>
                </a:cubicBezTo>
                <a:cubicBezTo>
                  <a:pt x="259556" y="1043464"/>
                  <a:pt x="261461" y="1043464"/>
                  <a:pt x="263366" y="1043464"/>
                </a:cubicBezTo>
                <a:cubicBezTo>
                  <a:pt x="273844" y="1043464"/>
                  <a:pt x="282416" y="1034891"/>
                  <a:pt x="282416" y="1024414"/>
                </a:cubicBezTo>
                <a:cubicBezTo>
                  <a:pt x="282416" y="1020604"/>
                  <a:pt x="281464" y="1016794"/>
                  <a:pt x="279559" y="1013936"/>
                </a:cubicBezTo>
                <a:cubicBezTo>
                  <a:pt x="287179" y="1012984"/>
                  <a:pt x="292894" y="1007269"/>
                  <a:pt x="295751" y="1000601"/>
                </a:cubicBezTo>
                <a:cubicBezTo>
                  <a:pt x="294799" y="1002506"/>
                  <a:pt x="294799" y="1004411"/>
                  <a:pt x="294799" y="1006316"/>
                </a:cubicBezTo>
                <a:cubicBezTo>
                  <a:pt x="294799" y="1007269"/>
                  <a:pt x="294799" y="1008221"/>
                  <a:pt x="294799" y="1009174"/>
                </a:cubicBezTo>
                <a:cubicBezTo>
                  <a:pt x="293846" y="1011079"/>
                  <a:pt x="293846" y="1012984"/>
                  <a:pt x="293846" y="1015841"/>
                </a:cubicBezTo>
                <a:cubicBezTo>
                  <a:pt x="293846" y="1019651"/>
                  <a:pt x="295751" y="1023461"/>
                  <a:pt x="297656" y="1026319"/>
                </a:cubicBezTo>
                <a:cubicBezTo>
                  <a:pt x="290036" y="1032034"/>
                  <a:pt x="284321" y="1040606"/>
                  <a:pt x="284321" y="1051084"/>
                </a:cubicBezTo>
                <a:cubicBezTo>
                  <a:pt x="284321" y="1052036"/>
                  <a:pt x="284321" y="1052036"/>
                  <a:pt x="284321" y="1052989"/>
                </a:cubicBezTo>
                <a:cubicBezTo>
                  <a:pt x="283369" y="1052036"/>
                  <a:pt x="281464" y="1052036"/>
                  <a:pt x="280511" y="1052036"/>
                </a:cubicBezTo>
                <a:cubicBezTo>
                  <a:pt x="273844" y="1052036"/>
                  <a:pt x="268129" y="1057751"/>
                  <a:pt x="268129" y="1064419"/>
                </a:cubicBezTo>
                <a:cubicBezTo>
                  <a:pt x="268129" y="1070134"/>
                  <a:pt x="271939" y="1074896"/>
                  <a:pt x="277654" y="1075849"/>
                </a:cubicBezTo>
                <a:cubicBezTo>
                  <a:pt x="277654" y="1075849"/>
                  <a:pt x="277654" y="1076801"/>
                  <a:pt x="277654" y="1076801"/>
                </a:cubicBezTo>
                <a:cubicBezTo>
                  <a:pt x="277654" y="1086326"/>
                  <a:pt x="285274" y="1094899"/>
                  <a:pt x="295751" y="1094899"/>
                </a:cubicBezTo>
                <a:cubicBezTo>
                  <a:pt x="298609" y="1094899"/>
                  <a:pt x="300514" y="1093946"/>
                  <a:pt x="303371" y="1092994"/>
                </a:cubicBezTo>
                <a:cubicBezTo>
                  <a:pt x="301466" y="1094899"/>
                  <a:pt x="300514" y="1097756"/>
                  <a:pt x="300514" y="1100614"/>
                </a:cubicBezTo>
                <a:cubicBezTo>
                  <a:pt x="300514" y="1104424"/>
                  <a:pt x="301466" y="1107281"/>
                  <a:pt x="304324" y="1110139"/>
                </a:cubicBezTo>
                <a:cubicBezTo>
                  <a:pt x="304324" y="1110139"/>
                  <a:pt x="303371" y="1110139"/>
                  <a:pt x="303371" y="1110139"/>
                </a:cubicBezTo>
                <a:cubicBezTo>
                  <a:pt x="285274" y="1110139"/>
                  <a:pt x="270986" y="1124426"/>
                  <a:pt x="270986" y="1142524"/>
                </a:cubicBezTo>
                <a:cubicBezTo>
                  <a:pt x="270986" y="1153954"/>
                  <a:pt x="276701" y="1163479"/>
                  <a:pt x="285274" y="1169194"/>
                </a:cubicBezTo>
                <a:cubicBezTo>
                  <a:pt x="286226" y="1171099"/>
                  <a:pt x="287179" y="1173004"/>
                  <a:pt x="288131" y="1174909"/>
                </a:cubicBezTo>
                <a:cubicBezTo>
                  <a:pt x="283369" y="1179671"/>
                  <a:pt x="280511" y="1187291"/>
                  <a:pt x="280511" y="1193959"/>
                </a:cubicBezTo>
                <a:cubicBezTo>
                  <a:pt x="272891" y="1194911"/>
                  <a:pt x="266224" y="1201579"/>
                  <a:pt x="266224" y="1210151"/>
                </a:cubicBezTo>
                <a:cubicBezTo>
                  <a:pt x="266224" y="1213009"/>
                  <a:pt x="267176" y="1216819"/>
                  <a:pt x="269081" y="1218724"/>
                </a:cubicBezTo>
                <a:cubicBezTo>
                  <a:pt x="265271" y="1217771"/>
                  <a:pt x="262414" y="1216819"/>
                  <a:pt x="258604" y="1216819"/>
                </a:cubicBezTo>
                <a:cubicBezTo>
                  <a:pt x="241459" y="1216819"/>
                  <a:pt x="227171" y="1231106"/>
                  <a:pt x="227171" y="1248251"/>
                </a:cubicBezTo>
                <a:cubicBezTo>
                  <a:pt x="227171" y="1265396"/>
                  <a:pt x="241459" y="1279684"/>
                  <a:pt x="258604" y="1279684"/>
                </a:cubicBezTo>
                <a:cubicBezTo>
                  <a:pt x="270034" y="1279684"/>
                  <a:pt x="279559" y="1273969"/>
                  <a:pt x="285274" y="1264444"/>
                </a:cubicBezTo>
                <a:cubicBezTo>
                  <a:pt x="288131" y="1265396"/>
                  <a:pt x="290989" y="1266349"/>
                  <a:pt x="293846" y="1266349"/>
                </a:cubicBezTo>
                <a:cubicBezTo>
                  <a:pt x="303371" y="1266349"/>
                  <a:pt x="311944" y="1261586"/>
                  <a:pt x="316706" y="1253966"/>
                </a:cubicBezTo>
                <a:cubicBezTo>
                  <a:pt x="318611" y="1253014"/>
                  <a:pt x="320516" y="1251109"/>
                  <a:pt x="321469" y="1249204"/>
                </a:cubicBezTo>
                <a:cubicBezTo>
                  <a:pt x="321469" y="1254919"/>
                  <a:pt x="323374" y="1259681"/>
                  <a:pt x="326231" y="1263491"/>
                </a:cubicBezTo>
                <a:cubicBezTo>
                  <a:pt x="326231" y="1263491"/>
                  <a:pt x="326231" y="1264444"/>
                  <a:pt x="326231" y="1264444"/>
                </a:cubicBezTo>
                <a:cubicBezTo>
                  <a:pt x="326231" y="1268254"/>
                  <a:pt x="327184" y="1272064"/>
                  <a:pt x="328136" y="1275874"/>
                </a:cubicBezTo>
                <a:cubicBezTo>
                  <a:pt x="325279" y="1278731"/>
                  <a:pt x="323374" y="1281589"/>
                  <a:pt x="322421" y="1285399"/>
                </a:cubicBezTo>
                <a:cubicBezTo>
                  <a:pt x="319564" y="1282541"/>
                  <a:pt x="315754" y="1280636"/>
                  <a:pt x="310991" y="1279684"/>
                </a:cubicBezTo>
                <a:cubicBezTo>
                  <a:pt x="310991" y="1275874"/>
                  <a:pt x="308134" y="1273016"/>
                  <a:pt x="304324" y="1273016"/>
                </a:cubicBezTo>
                <a:cubicBezTo>
                  <a:pt x="300514" y="1273016"/>
                  <a:pt x="297656" y="1275874"/>
                  <a:pt x="297656" y="1279684"/>
                </a:cubicBezTo>
                <a:cubicBezTo>
                  <a:pt x="297656" y="1281589"/>
                  <a:pt x="298609" y="1282541"/>
                  <a:pt x="299561" y="1284446"/>
                </a:cubicBezTo>
                <a:cubicBezTo>
                  <a:pt x="296704" y="1287304"/>
                  <a:pt x="294799" y="1292066"/>
                  <a:pt x="294799" y="1296829"/>
                </a:cubicBezTo>
                <a:cubicBezTo>
                  <a:pt x="294799" y="1300639"/>
                  <a:pt x="295751" y="1304449"/>
                  <a:pt x="298609" y="1307306"/>
                </a:cubicBezTo>
                <a:cubicBezTo>
                  <a:pt x="298609" y="1307306"/>
                  <a:pt x="298609" y="1307306"/>
                  <a:pt x="298609" y="1307306"/>
                </a:cubicBezTo>
                <a:cubicBezTo>
                  <a:pt x="298609" y="1312069"/>
                  <a:pt x="302419" y="1316831"/>
                  <a:pt x="308134" y="1316831"/>
                </a:cubicBezTo>
                <a:cubicBezTo>
                  <a:pt x="310991" y="1316831"/>
                  <a:pt x="312896" y="1315879"/>
                  <a:pt x="314801" y="1313974"/>
                </a:cubicBezTo>
                <a:cubicBezTo>
                  <a:pt x="320516" y="1313021"/>
                  <a:pt x="326231" y="1308259"/>
                  <a:pt x="328136" y="1302544"/>
                </a:cubicBezTo>
                <a:cubicBezTo>
                  <a:pt x="331946" y="1307306"/>
                  <a:pt x="336709" y="1310164"/>
                  <a:pt x="343376" y="1310164"/>
                </a:cubicBezTo>
                <a:cubicBezTo>
                  <a:pt x="347186" y="1310164"/>
                  <a:pt x="350996" y="1309211"/>
                  <a:pt x="353854" y="1306354"/>
                </a:cubicBezTo>
                <a:cubicBezTo>
                  <a:pt x="353854" y="1306354"/>
                  <a:pt x="353854" y="1307306"/>
                  <a:pt x="353854" y="1307306"/>
                </a:cubicBezTo>
                <a:cubicBezTo>
                  <a:pt x="353854" y="1315879"/>
                  <a:pt x="360521" y="1322546"/>
                  <a:pt x="369094" y="1322546"/>
                </a:cubicBezTo>
                <a:cubicBezTo>
                  <a:pt x="371951" y="1322546"/>
                  <a:pt x="373856" y="1321594"/>
                  <a:pt x="376714" y="1320641"/>
                </a:cubicBezTo>
                <a:cubicBezTo>
                  <a:pt x="378619" y="1322546"/>
                  <a:pt x="381476" y="1323499"/>
                  <a:pt x="384334" y="1323499"/>
                </a:cubicBezTo>
                <a:cubicBezTo>
                  <a:pt x="391001" y="1323499"/>
                  <a:pt x="396716" y="1317784"/>
                  <a:pt x="396716" y="1311116"/>
                </a:cubicBezTo>
                <a:cubicBezTo>
                  <a:pt x="396716" y="1310164"/>
                  <a:pt x="396716" y="1310164"/>
                  <a:pt x="396716" y="1309211"/>
                </a:cubicBezTo>
                <a:cubicBezTo>
                  <a:pt x="402431" y="1306354"/>
                  <a:pt x="406241" y="1300639"/>
                  <a:pt x="406241" y="1293971"/>
                </a:cubicBezTo>
                <a:cubicBezTo>
                  <a:pt x="406241" y="1287304"/>
                  <a:pt x="402431" y="1281589"/>
                  <a:pt x="397669" y="1278731"/>
                </a:cubicBezTo>
                <a:cubicBezTo>
                  <a:pt x="397669" y="1278731"/>
                  <a:pt x="397669" y="1278731"/>
                  <a:pt x="397669" y="1278731"/>
                </a:cubicBezTo>
                <a:cubicBezTo>
                  <a:pt x="399574" y="1279684"/>
                  <a:pt x="401479" y="1280636"/>
                  <a:pt x="404336" y="1280636"/>
                </a:cubicBezTo>
                <a:cubicBezTo>
                  <a:pt x="405289" y="1280636"/>
                  <a:pt x="407194" y="1280636"/>
                  <a:pt x="408146" y="1279684"/>
                </a:cubicBezTo>
                <a:cubicBezTo>
                  <a:pt x="411956" y="1283494"/>
                  <a:pt x="415766" y="1287304"/>
                  <a:pt x="421481" y="1288256"/>
                </a:cubicBezTo>
                <a:cubicBezTo>
                  <a:pt x="424339" y="1293971"/>
                  <a:pt x="431006" y="1296829"/>
                  <a:pt x="437674" y="1296829"/>
                </a:cubicBezTo>
                <a:cubicBezTo>
                  <a:pt x="448151" y="1296829"/>
                  <a:pt x="456724" y="1288256"/>
                  <a:pt x="456724" y="1277779"/>
                </a:cubicBezTo>
                <a:cubicBezTo>
                  <a:pt x="456724" y="1277779"/>
                  <a:pt x="456724" y="1276826"/>
                  <a:pt x="456724" y="1276826"/>
                </a:cubicBezTo>
                <a:cubicBezTo>
                  <a:pt x="460534" y="1279684"/>
                  <a:pt x="465296" y="1282541"/>
                  <a:pt x="471011" y="1284446"/>
                </a:cubicBezTo>
                <a:cubicBezTo>
                  <a:pt x="473869" y="1288256"/>
                  <a:pt x="479584" y="1291114"/>
                  <a:pt x="485299" y="1291114"/>
                </a:cubicBezTo>
                <a:cubicBezTo>
                  <a:pt x="491014" y="1291114"/>
                  <a:pt x="496729" y="1288256"/>
                  <a:pt x="499586" y="1283494"/>
                </a:cubicBezTo>
                <a:cubicBezTo>
                  <a:pt x="499586" y="1283494"/>
                  <a:pt x="500539" y="1284446"/>
                  <a:pt x="500539" y="1284446"/>
                </a:cubicBezTo>
                <a:cubicBezTo>
                  <a:pt x="499586" y="1285399"/>
                  <a:pt x="499586" y="1285399"/>
                  <a:pt x="498634" y="1286351"/>
                </a:cubicBezTo>
                <a:cubicBezTo>
                  <a:pt x="494824" y="1288256"/>
                  <a:pt x="491014" y="1293019"/>
                  <a:pt x="491014" y="1297781"/>
                </a:cubicBezTo>
                <a:cubicBezTo>
                  <a:pt x="486251" y="1301591"/>
                  <a:pt x="483394" y="1307306"/>
                  <a:pt x="483394" y="1313974"/>
                </a:cubicBezTo>
                <a:cubicBezTo>
                  <a:pt x="481489" y="1314926"/>
                  <a:pt x="478631" y="1315879"/>
                  <a:pt x="477679" y="1317784"/>
                </a:cubicBezTo>
                <a:cubicBezTo>
                  <a:pt x="475774" y="1316831"/>
                  <a:pt x="473869" y="1315879"/>
                  <a:pt x="471011" y="1315879"/>
                </a:cubicBezTo>
                <a:cubicBezTo>
                  <a:pt x="463391" y="1315879"/>
                  <a:pt x="457676" y="1321594"/>
                  <a:pt x="457676" y="1329214"/>
                </a:cubicBezTo>
                <a:cubicBezTo>
                  <a:pt x="457676" y="1336834"/>
                  <a:pt x="463391" y="1342549"/>
                  <a:pt x="471011" y="1342549"/>
                </a:cubicBezTo>
                <a:cubicBezTo>
                  <a:pt x="472916" y="1342549"/>
                  <a:pt x="473869" y="1342549"/>
                  <a:pt x="475774" y="1341596"/>
                </a:cubicBezTo>
                <a:cubicBezTo>
                  <a:pt x="475774" y="1341596"/>
                  <a:pt x="475774" y="1341596"/>
                  <a:pt x="475774" y="1341596"/>
                </a:cubicBezTo>
                <a:cubicBezTo>
                  <a:pt x="465296" y="1344454"/>
                  <a:pt x="456724" y="1352074"/>
                  <a:pt x="451961" y="1361599"/>
                </a:cubicBezTo>
                <a:cubicBezTo>
                  <a:pt x="450056" y="1359694"/>
                  <a:pt x="447199" y="1357789"/>
                  <a:pt x="444341" y="1356836"/>
                </a:cubicBezTo>
                <a:cubicBezTo>
                  <a:pt x="445294" y="1354931"/>
                  <a:pt x="446246" y="1352074"/>
                  <a:pt x="446246" y="1349216"/>
                </a:cubicBezTo>
                <a:cubicBezTo>
                  <a:pt x="446246" y="1339691"/>
                  <a:pt x="438626" y="1333024"/>
                  <a:pt x="430054" y="1333024"/>
                </a:cubicBezTo>
                <a:cubicBezTo>
                  <a:pt x="425291" y="1333024"/>
                  <a:pt x="421481" y="1334929"/>
                  <a:pt x="417671" y="1337786"/>
                </a:cubicBezTo>
                <a:cubicBezTo>
                  <a:pt x="415766" y="1334929"/>
                  <a:pt x="411956" y="1333024"/>
                  <a:pt x="408146" y="1333024"/>
                </a:cubicBezTo>
                <a:cubicBezTo>
                  <a:pt x="401479" y="1333024"/>
                  <a:pt x="395764" y="1338739"/>
                  <a:pt x="395764" y="1345406"/>
                </a:cubicBezTo>
                <a:cubicBezTo>
                  <a:pt x="395764" y="1350169"/>
                  <a:pt x="398621" y="1353979"/>
                  <a:pt x="401479" y="1355884"/>
                </a:cubicBezTo>
                <a:cubicBezTo>
                  <a:pt x="392906" y="1358741"/>
                  <a:pt x="386239" y="1366361"/>
                  <a:pt x="386239" y="1375886"/>
                </a:cubicBezTo>
                <a:cubicBezTo>
                  <a:pt x="386239" y="1376839"/>
                  <a:pt x="386239" y="1377791"/>
                  <a:pt x="386239" y="1379696"/>
                </a:cubicBezTo>
                <a:cubicBezTo>
                  <a:pt x="385286" y="1382554"/>
                  <a:pt x="385286" y="1384459"/>
                  <a:pt x="384334" y="1387316"/>
                </a:cubicBezTo>
                <a:cubicBezTo>
                  <a:pt x="382429" y="1389221"/>
                  <a:pt x="380524" y="1392079"/>
                  <a:pt x="379571" y="1394936"/>
                </a:cubicBezTo>
                <a:cubicBezTo>
                  <a:pt x="379571" y="1394936"/>
                  <a:pt x="378619" y="1394936"/>
                  <a:pt x="378619" y="1394936"/>
                </a:cubicBezTo>
                <a:cubicBezTo>
                  <a:pt x="378619" y="1394936"/>
                  <a:pt x="378619" y="1394936"/>
                  <a:pt x="378619" y="1394936"/>
                </a:cubicBezTo>
                <a:cubicBezTo>
                  <a:pt x="378619" y="1393031"/>
                  <a:pt x="379571" y="1391126"/>
                  <a:pt x="379571" y="1389221"/>
                </a:cubicBezTo>
                <a:cubicBezTo>
                  <a:pt x="379571" y="1388269"/>
                  <a:pt x="379571" y="1387316"/>
                  <a:pt x="379571" y="1386364"/>
                </a:cubicBezTo>
                <a:cubicBezTo>
                  <a:pt x="383381" y="1383506"/>
                  <a:pt x="386239" y="1379696"/>
                  <a:pt x="386239" y="1373981"/>
                </a:cubicBezTo>
                <a:cubicBezTo>
                  <a:pt x="386239" y="1366361"/>
                  <a:pt x="379571" y="1359694"/>
                  <a:pt x="371951" y="1359694"/>
                </a:cubicBezTo>
                <a:cubicBezTo>
                  <a:pt x="367189" y="1359694"/>
                  <a:pt x="363379" y="1361599"/>
                  <a:pt x="360521" y="1365409"/>
                </a:cubicBezTo>
                <a:cubicBezTo>
                  <a:pt x="358616" y="1364456"/>
                  <a:pt x="356711" y="1364456"/>
                  <a:pt x="354806" y="1364456"/>
                </a:cubicBezTo>
                <a:cubicBezTo>
                  <a:pt x="349091" y="1364456"/>
                  <a:pt x="343376" y="1366361"/>
                  <a:pt x="339566" y="1370171"/>
                </a:cubicBezTo>
                <a:cubicBezTo>
                  <a:pt x="337661" y="1367314"/>
                  <a:pt x="333851" y="1365409"/>
                  <a:pt x="330041" y="1365409"/>
                </a:cubicBezTo>
                <a:cubicBezTo>
                  <a:pt x="324326" y="1365409"/>
                  <a:pt x="320516" y="1369219"/>
                  <a:pt x="318611" y="1373981"/>
                </a:cubicBezTo>
                <a:cubicBezTo>
                  <a:pt x="316706" y="1374934"/>
                  <a:pt x="314801" y="1375886"/>
                  <a:pt x="313849" y="1377791"/>
                </a:cubicBezTo>
                <a:cubicBezTo>
                  <a:pt x="311944" y="1376839"/>
                  <a:pt x="310039" y="1376839"/>
                  <a:pt x="308134" y="1376839"/>
                </a:cubicBezTo>
                <a:cubicBezTo>
                  <a:pt x="301466" y="1376839"/>
                  <a:pt x="295751" y="1382554"/>
                  <a:pt x="295751" y="1389221"/>
                </a:cubicBezTo>
                <a:cubicBezTo>
                  <a:pt x="295751" y="1395889"/>
                  <a:pt x="301466" y="1401604"/>
                  <a:pt x="308134" y="1401604"/>
                </a:cubicBezTo>
                <a:cubicBezTo>
                  <a:pt x="314801" y="1401604"/>
                  <a:pt x="319564" y="1396841"/>
                  <a:pt x="320516" y="1390174"/>
                </a:cubicBezTo>
                <a:cubicBezTo>
                  <a:pt x="320516" y="1390174"/>
                  <a:pt x="320516" y="1390174"/>
                  <a:pt x="320516" y="1390174"/>
                </a:cubicBezTo>
                <a:cubicBezTo>
                  <a:pt x="322421" y="1390174"/>
                  <a:pt x="324326" y="1389221"/>
                  <a:pt x="325279" y="1388269"/>
                </a:cubicBezTo>
                <a:cubicBezTo>
                  <a:pt x="326231" y="1388269"/>
                  <a:pt x="328136" y="1389221"/>
                  <a:pt x="329089" y="1389221"/>
                </a:cubicBezTo>
                <a:cubicBezTo>
                  <a:pt x="329089" y="1389221"/>
                  <a:pt x="329089" y="1389221"/>
                  <a:pt x="329089" y="1390174"/>
                </a:cubicBezTo>
                <a:cubicBezTo>
                  <a:pt x="329089" y="1401604"/>
                  <a:pt x="336709" y="1411129"/>
                  <a:pt x="347186" y="1413986"/>
                </a:cubicBezTo>
                <a:cubicBezTo>
                  <a:pt x="347186" y="1414939"/>
                  <a:pt x="346234" y="1415891"/>
                  <a:pt x="346234" y="1417796"/>
                </a:cubicBezTo>
                <a:cubicBezTo>
                  <a:pt x="346234" y="1418749"/>
                  <a:pt x="346234" y="1419701"/>
                  <a:pt x="347186" y="1420654"/>
                </a:cubicBezTo>
                <a:cubicBezTo>
                  <a:pt x="345281" y="1424464"/>
                  <a:pt x="343376" y="1428274"/>
                  <a:pt x="343376" y="1433036"/>
                </a:cubicBezTo>
                <a:cubicBezTo>
                  <a:pt x="343376" y="1437799"/>
                  <a:pt x="344329" y="1442561"/>
                  <a:pt x="347186" y="1446371"/>
                </a:cubicBezTo>
                <a:cubicBezTo>
                  <a:pt x="339566" y="1447324"/>
                  <a:pt x="334804" y="1453991"/>
                  <a:pt x="334804" y="1461611"/>
                </a:cubicBezTo>
                <a:cubicBezTo>
                  <a:pt x="334804" y="1470184"/>
                  <a:pt x="341471" y="1476851"/>
                  <a:pt x="350044" y="1476851"/>
                </a:cubicBezTo>
                <a:cubicBezTo>
                  <a:pt x="353854" y="1476851"/>
                  <a:pt x="356711" y="1475899"/>
                  <a:pt x="359569" y="1473994"/>
                </a:cubicBezTo>
                <a:cubicBezTo>
                  <a:pt x="363379" y="1480661"/>
                  <a:pt x="370046" y="1484471"/>
                  <a:pt x="377666" y="1486376"/>
                </a:cubicBezTo>
                <a:cubicBezTo>
                  <a:pt x="379571" y="1490186"/>
                  <a:pt x="383381" y="1492091"/>
                  <a:pt x="388144" y="1492091"/>
                </a:cubicBezTo>
                <a:cubicBezTo>
                  <a:pt x="394811" y="1492091"/>
                  <a:pt x="400526" y="1486376"/>
                  <a:pt x="400526" y="1479709"/>
                </a:cubicBezTo>
                <a:cubicBezTo>
                  <a:pt x="400526" y="1478756"/>
                  <a:pt x="400526" y="1478756"/>
                  <a:pt x="400526" y="1478756"/>
                </a:cubicBezTo>
                <a:cubicBezTo>
                  <a:pt x="405289" y="1473994"/>
                  <a:pt x="408146" y="1468279"/>
                  <a:pt x="408146" y="1460659"/>
                </a:cubicBezTo>
                <a:cubicBezTo>
                  <a:pt x="408146" y="1451134"/>
                  <a:pt x="403384" y="1443514"/>
                  <a:pt x="396716" y="1438751"/>
                </a:cubicBezTo>
                <a:cubicBezTo>
                  <a:pt x="396716" y="1436846"/>
                  <a:pt x="397669" y="1435894"/>
                  <a:pt x="397669" y="1433989"/>
                </a:cubicBezTo>
                <a:cubicBezTo>
                  <a:pt x="397669" y="1431131"/>
                  <a:pt x="396716" y="1428274"/>
                  <a:pt x="395764" y="1425416"/>
                </a:cubicBezTo>
                <a:cubicBezTo>
                  <a:pt x="396716" y="1424464"/>
                  <a:pt x="396716" y="1422559"/>
                  <a:pt x="396716" y="1420654"/>
                </a:cubicBezTo>
                <a:cubicBezTo>
                  <a:pt x="396716" y="1420654"/>
                  <a:pt x="396716" y="1420654"/>
                  <a:pt x="396716" y="1420654"/>
                </a:cubicBezTo>
                <a:cubicBezTo>
                  <a:pt x="397669" y="1421606"/>
                  <a:pt x="398621" y="1422559"/>
                  <a:pt x="399574" y="1423511"/>
                </a:cubicBezTo>
                <a:cubicBezTo>
                  <a:pt x="397669" y="1425416"/>
                  <a:pt x="395764" y="1428274"/>
                  <a:pt x="395764" y="1431131"/>
                </a:cubicBezTo>
                <a:cubicBezTo>
                  <a:pt x="395764" y="1436846"/>
                  <a:pt x="400526" y="1441609"/>
                  <a:pt x="406241" y="1441609"/>
                </a:cubicBezTo>
                <a:cubicBezTo>
                  <a:pt x="411956" y="1441609"/>
                  <a:pt x="415766" y="1437799"/>
                  <a:pt x="416719" y="1432084"/>
                </a:cubicBezTo>
                <a:cubicBezTo>
                  <a:pt x="418624" y="1432084"/>
                  <a:pt x="420529" y="1433036"/>
                  <a:pt x="422434" y="1433036"/>
                </a:cubicBezTo>
                <a:cubicBezTo>
                  <a:pt x="421481" y="1434941"/>
                  <a:pt x="420529" y="1437799"/>
                  <a:pt x="420529" y="1440656"/>
                </a:cubicBezTo>
                <a:cubicBezTo>
                  <a:pt x="420529" y="1446371"/>
                  <a:pt x="423386" y="1451134"/>
                  <a:pt x="427196" y="1454944"/>
                </a:cubicBezTo>
                <a:cubicBezTo>
                  <a:pt x="421481" y="1457801"/>
                  <a:pt x="417671" y="1463516"/>
                  <a:pt x="417671" y="1471136"/>
                </a:cubicBezTo>
                <a:cubicBezTo>
                  <a:pt x="417671" y="1473994"/>
                  <a:pt x="418624" y="1476851"/>
                  <a:pt x="419576" y="1478756"/>
                </a:cubicBezTo>
                <a:cubicBezTo>
                  <a:pt x="413861" y="1478756"/>
                  <a:pt x="408146" y="1483519"/>
                  <a:pt x="408146" y="1490186"/>
                </a:cubicBezTo>
                <a:cubicBezTo>
                  <a:pt x="408146" y="1493044"/>
                  <a:pt x="410051" y="1496854"/>
                  <a:pt x="411956" y="1498759"/>
                </a:cubicBezTo>
                <a:cubicBezTo>
                  <a:pt x="411004" y="1499711"/>
                  <a:pt x="411004" y="1500664"/>
                  <a:pt x="411004" y="1502569"/>
                </a:cubicBezTo>
                <a:cubicBezTo>
                  <a:pt x="409099" y="1501616"/>
                  <a:pt x="407194" y="1500664"/>
                  <a:pt x="404336" y="1500664"/>
                </a:cubicBezTo>
                <a:cubicBezTo>
                  <a:pt x="398621" y="1500664"/>
                  <a:pt x="393859" y="1505426"/>
                  <a:pt x="393859" y="1511141"/>
                </a:cubicBezTo>
                <a:cubicBezTo>
                  <a:pt x="393859" y="1514951"/>
                  <a:pt x="395764" y="1517809"/>
                  <a:pt x="399574" y="1519714"/>
                </a:cubicBezTo>
                <a:cubicBezTo>
                  <a:pt x="392906" y="1521619"/>
                  <a:pt x="387191" y="1528286"/>
                  <a:pt x="387191" y="1535906"/>
                </a:cubicBezTo>
                <a:cubicBezTo>
                  <a:pt x="387191" y="1538764"/>
                  <a:pt x="388144" y="1541621"/>
                  <a:pt x="389096" y="1544479"/>
                </a:cubicBezTo>
                <a:cubicBezTo>
                  <a:pt x="387191" y="1544479"/>
                  <a:pt x="386239" y="1544479"/>
                  <a:pt x="384334" y="1545431"/>
                </a:cubicBezTo>
                <a:cubicBezTo>
                  <a:pt x="383381" y="1536859"/>
                  <a:pt x="375761" y="1530191"/>
                  <a:pt x="367189" y="1530191"/>
                </a:cubicBezTo>
                <a:cubicBezTo>
                  <a:pt x="357664" y="1530191"/>
                  <a:pt x="350044" y="1537811"/>
                  <a:pt x="350044" y="1547336"/>
                </a:cubicBezTo>
                <a:cubicBezTo>
                  <a:pt x="350044" y="1554956"/>
                  <a:pt x="354806" y="1560671"/>
                  <a:pt x="361474" y="1563529"/>
                </a:cubicBezTo>
                <a:cubicBezTo>
                  <a:pt x="360521" y="1565434"/>
                  <a:pt x="359569" y="1566386"/>
                  <a:pt x="359569" y="1568291"/>
                </a:cubicBezTo>
                <a:cubicBezTo>
                  <a:pt x="357664" y="1566386"/>
                  <a:pt x="355759" y="1565434"/>
                  <a:pt x="352901" y="1565434"/>
                </a:cubicBezTo>
                <a:cubicBezTo>
                  <a:pt x="348139" y="1565434"/>
                  <a:pt x="344329" y="1569244"/>
                  <a:pt x="344329" y="1574006"/>
                </a:cubicBezTo>
                <a:cubicBezTo>
                  <a:pt x="344329" y="1575911"/>
                  <a:pt x="345281" y="1577816"/>
                  <a:pt x="346234" y="1578769"/>
                </a:cubicBezTo>
                <a:cubicBezTo>
                  <a:pt x="341471" y="1582579"/>
                  <a:pt x="338614" y="1588294"/>
                  <a:pt x="338614" y="1594961"/>
                </a:cubicBezTo>
                <a:cubicBezTo>
                  <a:pt x="338614" y="1605439"/>
                  <a:pt x="347186" y="1614964"/>
                  <a:pt x="357664" y="1615916"/>
                </a:cubicBezTo>
                <a:cubicBezTo>
                  <a:pt x="358616" y="1617821"/>
                  <a:pt x="359569" y="1619726"/>
                  <a:pt x="361474" y="1620679"/>
                </a:cubicBezTo>
                <a:cubicBezTo>
                  <a:pt x="364331" y="1628299"/>
                  <a:pt x="369094" y="1634014"/>
                  <a:pt x="375761" y="1637824"/>
                </a:cubicBezTo>
                <a:cubicBezTo>
                  <a:pt x="375761" y="1638776"/>
                  <a:pt x="376714" y="1639729"/>
                  <a:pt x="376714" y="1640681"/>
                </a:cubicBezTo>
                <a:cubicBezTo>
                  <a:pt x="367189" y="1644491"/>
                  <a:pt x="358616" y="1653064"/>
                  <a:pt x="355759" y="1662589"/>
                </a:cubicBezTo>
                <a:cubicBezTo>
                  <a:pt x="353854" y="1660684"/>
                  <a:pt x="350996" y="1658779"/>
                  <a:pt x="347186" y="1657826"/>
                </a:cubicBezTo>
                <a:cubicBezTo>
                  <a:pt x="353854" y="1654016"/>
                  <a:pt x="358616" y="1646396"/>
                  <a:pt x="358616" y="1637824"/>
                </a:cubicBezTo>
                <a:cubicBezTo>
                  <a:pt x="358616" y="1627346"/>
                  <a:pt x="350996" y="1617821"/>
                  <a:pt x="341471" y="1614964"/>
                </a:cubicBezTo>
                <a:cubicBezTo>
                  <a:pt x="340519" y="1603534"/>
                  <a:pt x="333851" y="1594009"/>
                  <a:pt x="324326" y="1589246"/>
                </a:cubicBezTo>
                <a:cubicBezTo>
                  <a:pt x="323374" y="1586389"/>
                  <a:pt x="322421" y="1582579"/>
                  <a:pt x="321469" y="1579721"/>
                </a:cubicBezTo>
                <a:cubicBezTo>
                  <a:pt x="321469" y="1578769"/>
                  <a:pt x="322421" y="1577816"/>
                  <a:pt x="322421" y="1575911"/>
                </a:cubicBezTo>
                <a:cubicBezTo>
                  <a:pt x="322421" y="1569244"/>
                  <a:pt x="316706" y="1562576"/>
                  <a:pt x="309086" y="1562576"/>
                </a:cubicBezTo>
                <a:cubicBezTo>
                  <a:pt x="308134" y="1562576"/>
                  <a:pt x="307181" y="1562576"/>
                  <a:pt x="306229" y="1562576"/>
                </a:cubicBezTo>
                <a:cubicBezTo>
                  <a:pt x="306229" y="1561624"/>
                  <a:pt x="306229" y="1559719"/>
                  <a:pt x="306229" y="1558766"/>
                </a:cubicBezTo>
                <a:cubicBezTo>
                  <a:pt x="306229" y="1556861"/>
                  <a:pt x="306229" y="1554004"/>
                  <a:pt x="305276" y="1552099"/>
                </a:cubicBezTo>
                <a:cubicBezTo>
                  <a:pt x="306229" y="1551146"/>
                  <a:pt x="307181" y="1551146"/>
                  <a:pt x="308134" y="1550194"/>
                </a:cubicBezTo>
                <a:cubicBezTo>
                  <a:pt x="310039" y="1553051"/>
                  <a:pt x="312896" y="1554956"/>
                  <a:pt x="316706" y="1554956"/>
                </a:cubicBezTo>
                <a:cubicBezTo>
                  <a:pt x="316706" y="1554956"/>
                  <a:pt x="316706" y="1554956"/>
                  <a:pt x="317659" y="1554956"/>
                </a:cubicBezTo>
                <a:cubicBezTo>
                  <a:pt x="316706" y="1555909"/>
                  <a:pt x="316706" y="1557814"/>
                  <a:pt x="316706" y="1558766"/>
                </a:cubicBezTo>
                <a:cubicBezTo>
                  <a:pt x="316706" y="1564481"/>
                  <a:pt x="321469" y="1569244"/>
                  <a:pt x="327184" y="1569244"/>
                </a:cubicBezTo>
                <a:cubicBezTo>
                  <a:pt x="332899" y="1569244"/>
                  <a:pt x="337661" y="1564481"/>
                  <a:pt x="337661" y="1558766"/>
                </a:cubicBezTo>
                <a:cubicBezTo>
                  <a:pt x="337661" y="1553051"/>
                  <a:pt x="332899" y="1548289"/>
                  <a:pt x="327184" y="1548289"/>
                </a:cubicBezTo>
                <a:cubicBezTo>
                  <a:pt x="327184" y="1548289"/>
                  <a:pt x="327184" y="1548289"/>
                  <a:pt x="326231" y="1548289"/>
                </a:cubicBezTo>
                <a:cubicBezTo>
                  <a:pt x="326231" y="1547336"/>
                  <a:pt x="327184" y="1545431"/>
                  <a:pt x="327184" y="1544479"/>
                </a:cubicBezTo>
                <a:cubicBezTo>
                  <a:pt x="327184" y="1538764"/>
                  <a:pt x="322421" y="1534001"/>
                  <a:pt x="316706" y="1534001"/>
                </a:cubicBezTo>
                <a:cubicBezTo>
                  <a:pt x="315754" y="1534001"/>
                  <a:pt x="314801" y="1534001"/>
                  <a:pt x="313849" y="1534954"/>
                </a:cubicBezTo>
                <a:cubicBezTo>
                  <a:pt x="313849" y="1534001"/>
                  <a:pt x="313849" y="1533049"/>
                  <a:pt x="312896" y="1533049"/>
                </a:cubicBezTo>
                <a:cubicBezTo>
                  <a:pt x="326231" y="1530191"/>
                  <a:pt x="335756" y="1518761"/>
                  <a:pt x="335756" y="1505426"/>
                </a:cubicBezTo>
                <a:cubicBezTo>
                  <a:pt x="335756" y="1500664"/>
                  <a:pt x="334804" y="1495901"/>
                  <a:pt x="331946" y="1492091"/>
                </a:cubicBezTo>
                <a:cubicBezTo>
                  <a:pt x="331946" y="1491139"/>
                  <a:pt x="332899" y="1490186"/>
                  <a:pt x="332899" y="1488281"/>
                </a:cubicBezTo>
                <a:cubicBezTo>
                  <a:pt x="332899" y="1483519"/>
                  <a:pt x="329089" y="1479709"/>
                  <a:pt x="324326" y="1479709"/>
                </a:cubicBezTo>
                <a:cubicBezTo>
                  <a:pt x="323374" y="1479709"/>
                  <a:pt x="321469" y="1479709"/>
                  <a:pt x="320516" y="1480661"/>
                </a:cubicBezTo>
                <a:cubicBezTo>
                  <a:pt x="316706" y="1478756"/>
                  <a:pt x="312896" y="1477804"/>
                  <a:pt x="308134" y="1477804"/>
                </a:cubicBezTo>
                <a:cubicBezTo>
                  <a:pt x="297656" y="1477804"/>
                  <a:pt x="288131" y="1483519"/>
                  <a:pt x="283369" y="1492091"/>
                </a:cubicBezTo>
                <a:cubicBezTo>
                  <a:pt x="282416" y="1492091"/>
                  <a:pt x="280511" y="1491139"/>
                  <a:pt x="279559" y="1491139"/>
                </a:cubicBezTo>
                <a:cubicBezTo>
                  <a:pt x="272891" y="1491139"/>
                  <a:pt x="267176" y="1494949"/>
                  <a:pt x="265271" y="1500664"/>
                </a:cubicBezTo>
                <a:cubicBezTo>
                  <a:pt x="262414" y="1502569"/>
                  <a:pt x="260509" y="1505426"/>
                  <a:pt x="258604" y="1508284"/>
                </a:cubicBezTo>
                <a:cubicBezTo>
                  <a:pt x="255746" y="1507331"/>
                  <a:pt x="252889" y="1506379"/>
                  <a:pt x="250031" y="1506379"/>
                </a:cubicBezTo>
                <a:cubicBezTo>
                  <a:pt x="239554" y="1506379"/>
                  <a:pt x="231934" y="1514951"/>
                  <a:pt x="231934" y="1524476"/>
                </a:cubicBezTo>
                <a:cubicBezTo>
                  <a:pt x="231934" y="1532096"/>
                  <a:pt x="236696" y="1538764"/>
                  <a:pt x="243364" y="1541621"/>
                </a:cubicBezTo>
                <a:cubicBezTo>
                  <a:pt x="243364" y="1542574"/>
                  <a:pt x="242411" y="1542574"/>
                  <a:pt x="242411" y="1543526"/>
                </a:cubicBezTo>
                <a:cubicBezTo>
                  <a:pt x="241459" y="1543526"/>
                  <a:pt x="240506" y="1543526"/>
                  <a:pt x="239554" y="1543526"/>
                </a:cubicBezTo>
                <a:cubicBezTo>
                  <a:pt x="233839" y="1543526"/>
                  <a:pt x="229076" y="1545431"/>
                  <a:pt x="225266" y="1548289"/>
                </a:cubicBezTo>
                <a:cubicBezTo>
                  <a:pt x="220504" y="1545431"/>
                  <a:pt x="215741" y="1544479"/>
                  <a:pt x="210026" y="1544479"/>
                </a:cubicBezTo>
                <a:cubicBezTo>
                  <a:pt x="202406" y="1544479"/>
                  <a:pt x="194786" y="1547336"/>
                  <a:pt x="189071" y="1553051"/>
                </a:cubicBezTo>
                <a:cubicBezTo>
                  <a:pt x="185261" y="1547336"/>
                  <a:pt x="178594" y="1543526"/>
                  <a:pt x="170974" y="1543526"/>
                </a:cubicBezTo>
                <a:cubicBezTo>
                  <a:pt x="168116" y="1543526"/>
                  <a:pt x="165259" y="1544479"/>
                  <a:pt x="162401" y="1545431"/>
                </a:cubicBezTo>
                <a:cubicBezTo>
                  <a:pt x="161449" y="1541621"/>
                  <a:pt x="157639" y="1537811"/>
                  <a:pt x="152876" y="1537811"/>
                </a:cubicBezTo>
                <a:cubicBezTo>
                  <a:pt x="147161" y="1537811"/>
                  <a:pt x="143351" y="1542574"/>
                  <a:pt x="143351" y="1547336"/>
                </a:cubicBezTo>
                <a:cubicBezTo>
                  <a:pt x="143351" y="1552099"/>
                  <a:pt x="146209" y="1555909"/>
                  <a:pt x="150971" y="1556861"/>
                </a:cubicBezTo>
                <a:cubicBezTo>
                  <a:pt x="150019" y="1559719"/>
                  <a:pt x="149066" y="1562576"/>
                  <a:pt x="149066" y="1566386"/>
                </a:cubicBezTo>
                <a:cubicBezTo>
                  <a:pt x="149066" y="1572101"/>
                  <a:pt x="150971" y="1576864"/>
                  <a:pt x="153829" y="1580674"/>
                </a:cubicBezTo>
                <a:cubicBezTo>
                  <a:pt x="148114" y="1581626"/>
                  <a:pt x="143351" y="1586389"/>
                  <a:pt x="143351" y="1593056"/>
                </a:cubicBezTo>
                <a:cubicBezTo>
                  <a:pt x="143351" y="1599724"/>
                  <a:pt x="149066" y="1605439"/>
                  <a:pt x="155734" y="1605439"/>
                </a:cubicBezTo>
                <a:cubicBezTo>
                  <a:pt x="162401" y="1605439"/>
                  <a:pt x="168116" y="1599724"/>
                  <a:pt x="168116" y="1593056"/>
                </a:cubicBezTo>
                <a:cubicBezTo>
                  <a:pt x="168116" y="1592104"/>
                  <a:pt x="168116" y="1590199"/>
                  <a:pt x="167164" y="1589246"/>
                </a:cubicBezTo>
                <a:cubicBezTo>
                  <a:pt x="168116" y="1589246"/>
                  <a:pt x="170021" y="1589246"/>
                  <a:pt x="170974" y="1589246"/>
                </a:cubicBezTo>
                <a:cubicBezTo>
                  <a:pt x="174784" y="1589246"/>
                  <a:pt x="178594" y="1588294"/>
                  <a:pt x="182404" y="1586389"/>
                </a:cubicBezTo>
                <a:cubicBezTo>
                  <a:pt x="183356" y="1587341"/>
                  <a:pt x="183356" y="1588294"/>
                  <a:pt x="184309" y="1589246"/>
                </a:cubicBezTo>
                <a:cubicBezTo>
                  <a:pt x="183356" y="1592104"/>
                  <a:pt x="183356" y="1594961"/>
                  <a:pt x="183356" y="1597819"/>
                </a:cubicBezTo>
                <a:cubicBezTo>
                  <a:pt x="183356" y="1607344"/>
                  <a:pt x="188119" y="1615916"/>
                  <a:pt x="195739" y="1620679"/>
                </a:cubicBezTo>
                <a:cubicBezTo>
                  <a:pt x="195739" y="1620679"/>
                  <a:pt x="195739" y="1620679"/>
                  <a:pt x="195739" y="1620679"/>
                </a:cubicBezTo>
                <a:cubicBezTo>
                  <a:pt x="195739" y="1623536"/>
                  <a:pt x="198596" y="1626394"/>
                  <a:pt x="201454" y="1626394"/>
                </a:cubicBezTo>
                <a:cubicBezTo>
                  <a:pt x="203359" y="1626394"/>
                  <a:pt x="204311" y="1625441"/>
                  <a:pt x="206216" y="1624489"/>
                </a:cubicBezTo>
                <a:cubicBezTo>
                  <a:pt x="207169" y="1624489"/>
                  <a:pt x="209074" y="1624489"/>
                  <a:pt x="210026" y="1624489"/>
                </a:cubicBezTo>
                <a:cubicBezTo>
                  <a:pt x="223361" y="1624489"/>
                  <a:pt x="234791" y="1614011"/>
                  <a:pt x="236696" y="1600676"/>
                </a:cubicBezTo>
                <a:cubicBezTo>
                  <a:pt x="240506" y="1602581"/>
                  <a:pt x="244316" y="1604486"/>
                  <a:pt x="249079" y="1604486"/>
                </a:cubicBezTo>
                <a:cubicBezTo>
                  <a:pt x="248126" y="1607344"/>
                  <a:pt x="247174" y="1611154"/>
                  <a:pt x="247174" y="1614011"/>
                </a:cubicBezTo>
                <a:cubicBezTo>
                  <a:pt x="247174" y="1615916"/>
                  <a:pt x="247174" y="1617821"/>
                  <a:pt x="248126" y="1619726"/>
                </a:cubicBezTo>
                <a:cubicBezTo>
                  <a:pt x="248126" y="1619726"/>
                  <a:pt x="248126" y="1619726"/>
                  <a:pt x="247174" y="1619726"/>
                </a:cubicBezTo>
                <a:cubicBezTo>
                  <a:pt x="239554" y="1619726"/>
                  <a:pt x="233839" y="1625441"/>
                  <a:pt x="233839" y="1633061"/>
                </a:cubicBezTo>
                <a:cubicBezTo>
                  <a:pt x="233839" y="1639729"/>
                  <a:pt x="239554" y="1645444"/>
                  <a:pt x="246221" y="1646396"/>
                </a:cubicBezTo>
                <a:cubicBezTo>
                  <a:pt x="246221" y="1653064"/>
                  <a:pt x="251936" y="1657826"/>
                  <a:pt x="258604" y="1657826"/>
                </a:cubicBezTo>
                <a:cubicBezTo>
                  <a:pt x="265271" y="1657826"/>
                  <a:pt x="270986" y="1652111"/>
                  <a:pt x="270986" y="1645444"/>
                </a:cubicBezTo>
                <a:cubicBezTo>
                  <a:pt x="270986" y="1642586"/>
                  <a:pt x="270034" y="1640681"/>
                  <a:pt x="268129" y="1637824"/>
                </a:cubicBezTo>
                <a:cubicBezTo>
                  <a:pt x="269081" y="1637824"/>
                  <a:pt x="270034" y="1637824"/>
                  <a:pt x="270034" y="1637824"/>
                </a:cubicBezTo>
                <a:cubicBezTo>
                  <a:pt x="273844" y="1637824"/>
                  <a:pt x="277654" y="1636871"/>
                  <a:pt x="281464" y="1634966"/>
                </a:cubicBezTo>
                <a:cubicBezTo>
                  <a:pt x="284321" y="1638776"/>
                  <a:pt x="288131" y="1641634"/>
                  <a:pt x="291941" y="1644491"/>
                </a:cubicBezTo>
                <a:cubicBezTo>
                  <a:pt x="290989" y="1646396"/>
                  <a:pt x="290036" y="1648301"/>
                  <a:pt x="290036" y="1651159"/>
                </a:cubicBezTo>
                <a:cubicBezTo>
                  <a:pt x="290036" y="1658779"/>
                  <a:pt x="295751" y="1664494"/>
                  <a:pt x="303371" y="1664494"/>
                </a:cubicBezTo>
                <a:cubicBezTo>
                  <a:pt x="307181" y="1664494"/>
                  <a:pt x="310991" y="1662589"/>
                  <a:pt x="312896" y="1660684"/>
                </a:cubicBezTo>
                <a:cubicBezTo>
                  <a:pt x="312896" y="1661636"/>
                  <a:pt x="311944" y="1663541"/>
                  <a:pt x="311944" y="1664494"/>
                </a:cubicBezTo>
                <a:cubicBezTo>
                  <a:pt x="311944" y="1671161"/>
                  <a:pt x="317659" y="1676876"/>
                  <a:pt x="324326" y="1676876"/>
                </a:cubicBezTo>
                <a:cubicBezTo>
                  <a:pt x="326231" y="1676876"/>
                  <a:pt x="328136" y="1675924"/>
                  <a:pt x="330041" y="1675924"/>
                </a:cubicBezTo>
                <a:cubicBezTo>
                  <a:pt x="331946" y="1680686"/>
                  <a:pt x="336709" y="1683544"/>
                  <a:pt x="342424" y="1683544"/>
                </a:cubicBezTo>
                <a:cubicBezTo>
                  <a:pt x="346234" y="1683544"/>
                  <a:pt x="349091" y="1681639"/>
                  <a:pt x="351949" y="1679734"/>
                </a:cubicBezTo>
                <a:cubicBezTo>
                  <a:pt x="353854" y="1685449"/>
                  <a:pt x="356711" y="1691164"/>
                  <a:pt x="360521" y="1694974"/>
                </a:cubicBezTo>
                <a:cubicBezTo>
                  <a:pt x="359569" y="1694974"/>
                  <a:pt x="359569" y="1694974"/>
                  <a:pt x="358616" y="1694974"/>
                </a:cubicBezTo>
                <a:cubicBezTo>
                  <a:pt x="352901" y="1694974"/>
                  <a:pt x="348139" y="1699736"/>
                  <a:pt x="348139" y="1705451"/>
                </a:cubicBezTo>
                <a:cubicBezTo>
                  <a:pt x="348139" y="1710214"/>
                  <a:pt x="350996" y="1713071"/>
                  <a:pt x="354806" y="1714976"/>
                </a:cubicBezTo>
                <a:cubicBezTo>
                  <a:pt x="349091" y="1716881"/>
                  <a:pt x="345281" y="1722596"/>
                  <a:pt x="345281" y="1729264"/>
                </a:cubicBezTo>
                <a:cubicBezTo>
                  <a:pt x="345281" y="1737836"/>
                  <a:pt x="351949" y="1744504"/>
                  <a:pt x="360521" y="1744504"/>
                </a:cubicBezTo>
                <a:cubicBezTo>
                  <a:pt x="369094" y="1744504"/>
                  <a:pt x="375761" y="1737836"/>
                  <a:pt x="375761" y="1729264"/>
                </a:cubicBezTo>
                <a:cubicBezTo>
                  <a:pt x="375761" y="1721644"/>
                  <a:pt x="370046" y="1715929"/>
                  <a:pt x="363379" y="1714024"/>
                </a:cubicBezTo>
                <a:cubicBezTo>
                  <a:pt x="366236" y="1712119"/>
                  <a:pt x="368141" y="1709261"/>
                  <a:pt x="368141" y="1705451"/>
                </a:cubicBezTo>
                <a:cubicBezTo>
                  <a:pt x="368141" y="1704499"/>
                  <a:pt x="368141" y="1702594"/>
                  <a:pt x="367189" y="1701641"/>
                </a:cubicBezTo>
                <a:cubicBezTo>
                  <a:pt x="369094" y="1702594"/>
                  <a:pt x="371951" y="1704499"/>
                  <a:pt x="374809" y="1704499"/>
                </a:cubicBezTo>
                <a:cubicBezTo>
                  <a:pt x="376714" y="1706404"/>
                  <a:pt x="378619" y="1707356"/>
                  <a:pt x="381476" y="1707356"/>
                </a:cubicBezTo>
                <a:cubicBezTo>
                  <a:pt x="382429" y="1707356"/>
                  <a:pt x="384334" y="1707356"/>
                  <a:pt x="385286" y="1706404"/>
                </a:cubicBezTo>
                <a:cubicBezTo>
                  <a:pt x="385286" y="1706404"/>
                  <a:pt x="385286" y="1706404"/>
                  <a:pt x="386239" y="1706404"/>
                </a:cubicBezTo>
                <a:cubicBezTo>
                  <a:pt x="399574" y="1706404"/>
                  <a:pt x="411004" y="1698784"/>
                  <a:pt x="416719" y="1688306"/>
                </a:cubicBezTo>
                <a:cubicBezTo>
                  <a:pt x="419576" y="1687354"/>
                  <a:pt x="421481" y="1685449"/>
                  <a:pt x="421481" y="1681639"/>
                </a:cubicBezTo>
                <a:cubicBezTo>
                  <a:pt x="421481" y="1680686"/>
                  <a:pt x="421481" y="1679734"/>
                  <a:pt x="420529" y="1678781"/>
                </a:cubicBezTo>
                <a:cubicBezTo>
                  <a:pt x="420529" y="1677829"/>
                  <a:pt x="420529" y="1676876"/>
                  <a:pt x="420529" y="1675924"/>
                </a:cubicBezTo>
                <a:cubicBezTo>
                  <a:pt x="424339" y="1677829"/>
                  <a:pt x="429101" y="1678781"/>
                  <a:pt x="433864" y="1679734"/>
                </a:cubicBezTo>
                <a:cubicBezTo>
                  <a:pt x="434816" y="1681639"/>
                  <a:pt x="435769" y="1684496"/>
                  <a:pt x="436721" y="1686401"/>
                </a:cubicBezTo>
                <a:cubicBezTo>
                  <a:pt x="427196" y="1688306"/>
                  <a:pt x="419576" y="1694021"/>
                  <a:pt x="415766" y="1702594"/>
                </a:cubicBezTo>
                <a:cubicBezTo>
                  <a:pt x="415766" y="1702594"/>
                  <a:pt x="414814" y="1702594"/>
                  <a:pt x="414814" y="1702594"/>
                </a:cubicBezTo>
                <a:cubicBezTo>
                  <a:pt x="411956" y="1702594"/>
                  <a:pt x="409099" y="1705451"/>
                  <a:pt x="409099" y="1708309"/>
                </a:cubicBezTo>
                <a:cubicBezTo>
                  <a:pt x="409099" y="1709261"/>
                  <a:pt x="409099" y="1710214"/>
                  <a:pt x="409099" y="1710214"/>
                </a:cubicBezTo>
                <a:cubicBezTo>
                  <a:pt x="408146" y="1710214"/>
                  <a:pt x="408146" y="1711166"/>
                  <a:pt x="407194" y="1711166"/>
                </a:cubicBezTo>
                <a:cubicBezTo>
                  <a:pt x="406241" y="1707356"/>
                  <a:pt x="403384" y="1705451"/>
                  <a:pt x="399574" y="1705451"/>
                </a:cubicBezTo>
                <a:cubicBezTo>
                  <a:pt x="394811" y="1705451"/>
                  <a:pt x="391954" y="1709261"/>
                  <a:pt x="391954" y="1713071"/>
                </a:cubicBezTo>
                <a:cubicBezTo>
                  <a:pt x="391954" y="1717834"/>
                  <a:pt x="395764" y="1720691"/>
                  <a:pt x="399574" y="1720691"/>
                </a:cubicBezTo>
                <a:cubicBezTo>
                  <a:pt x="399574" y="1720691"/>
                  <a:pt x="400526" y="1720691"/>
                  <a:pt x="400526" y="1720691"/>
                </a:cubicBezTo>
                <a:cubicBezTo>
                  <a:pt x="400526" y="1721644"/>
                  <a:pt x="400526" y="1723549"/>
                  <a:pt x="400526" y="1724501"/>
                </a:cubicBezTo>
                <a:cubicBezTo>
                  <a:pt x="400526" y="1726406"/>
                  <a:pt x="400526" y="1728311"/>
                  <a:pt x="401479" y="1729264"/>
                </a:cubicBezTo>
                <a:cubicBezTo>
                  <a:pt x="396716" y="1732121"/>
                  <a:pt x="392906" y="1737836"/>
                  <a:pt x="392906" y="1743551"/>
                </a:cubicBezTo>
                <a:cubicBezTo>
                  <a:pt x="392906" y="1746409"/>
                  <a:pt x="393859" y="1749266"/>
                  <a:pt x="394811" y="1752124"/>
                </a:cubicBezTo>
                <a:cubicBezTo>
                  <a:pt x="390049" y="1753076"/>
                  <a:pt x="385286" y="1754029"/>
                  <a:pt x="380524" y="1756886"/>
                </a:cubicBezTo>
                <a:cubicBezTo>
                  <a:pt x="376714" y="1754029"/>
                  <a:pt x="371951" y="1751171"/>
                  <a:pt x="367189" y="1751171"/>
                </a:cubicBezTo>
                <a:cubicBezTo>
                  <a:pt x="357664" y="1751171"/>
                  <a:pt x="350044" y="1757839"/>
                  <a:pt x="348139" y="1766411"/>
                </a:cubicBezTo>
                <a:cubicBezTo>
                  <a:pt x="348139" y="1766411"/>
                  <a:pt x="347186" y="1767364"/>
                  <a:pt x="347186" y="1767364"/>
                </a:cubicBezTo>
                <a:cubicBezTo>
                  <a:pt x="348139" y="1765459"/>
                  <a:pt x="348139" y="1763554"/>
                  <a:pt x="348139" y="1761649"/>
                </a:cubicBezTo>
                <a:cubicBezTo>
                  <a:pt x="348139" y="1754029"/>
                  <a:pt x="341471" y="1747361"/>
                  <a:pt x="333851" y="1747361"/>
                </a:cubicBezTo>
                <a:cubicBezTo>
                  <a:pt x="330041" y="1747361"/>
                  <a:pt x="327184" y="1749266"/>
                  <a:pt x="324326" y="1751171"/>
                </a:cubicBezTo>
                <a:cubicBezTo>
                  <a:pt x="318611" y="1742599"/>
                  <a:pt x="309086" y="1736884"/>
                  <a:pt x="298609" y="1736884"/>
                </a:cubicBezTo>
                <a:cubicBezTo>
                  <a:pt x="282416" y="1736884"/>
                  <a:pt x="269081" y="1750219"/>
                  <a:pt x="268129" y="1766411"/>
                </a:cubicBezTo>
                <a:cubicBezTo>
                  <a:pt x="266224" y="1766411"/>
                  <a:pt x="264319" y="1767364"/>
                  <a:pt x="263366" y="1767364"/>
                </a:cubicBezTo>
                <a:cubicBezTo>
                  <a:pt x="264319" y="1764506"/>
                  <a:pt x="265271" y="1761649"/>
                  <a:pt x="265271" y="1758791"/>
                </a:cubicBezTo>
                <a:cubicBezTo>
                  <a:pt x="265271" y="1744504"/>
                  <a:pt x="252889" y="1732121"/>
                  <a:pt x="238601" y="1732121"/>
                </a:cubicBezTo>
                <a:cubicBezTo>
                  <a:pt x="224314" y="1732121"/>
                  <a:pt x="211931" y="1744504"/>
                  <a:pt x="211931" y="1758791"/>
                </a:cubicBezTo>
                <a:cubicBezTo>
                  <a:pt x="211931" y="1760696"/>
                  <a:pt x="211931" y="1762601"/>
                  <a:pt x="212884" y="1764506"/>
                </a:cubicBezTo>
                <a:cubicBezTo>
                  <a:pt x="212884" y="1764506"/>
                  <a:pt x="212884" y="1765459"/>
                  <a:pt x="212884" y="1765459"/>
                </a:cubicBezTo>
                <a:cubicBezTo>
                  <a:pt x="212884" y="1768316"/>
                  <a:pt x="213836" y="1771174"/>
                  <a:pt x="214789" y="1773079"/>
                </a:cubicBezTo>
                <a:cubicBezTo>
                  <a:pt x="210026" y="1774031"/>
                  <a:pt x="207169" y="1777841"/>
                  <a:pt x="207169" y="1781651"/>
                </a:cubicBezTo>
                <a:cubicBezTo>
                  <a:pt x="207169" y="1782604"/>
                  <a:pt x="207169" y="1783556"/>
                  <a:pt x="208121" y="1784509"/>
                </a:cubicBezTo>
                <a:cubicBezTo>
                  <a:pt x="201454" y="1791176"/>
                  <a:pt x="196691" y="1799749"/>
                  <a:pt x="195739" y="1810226"/>
                </a:cubicBezTo>
                <a:cubicBezTo>
                  <a:pt x="194786" y="1830229"/>
                  <a:pt x="210026" y="1846421"/>
                  <a:pt x="230029" y="1847374"/>
                </a:cubicBezTo>
                <a:cubicBezTo>
                  <a:pt x="242411" y="1848326"/>
                  <a:pt x="253841" y="1841659"/>
                  <a:pt x="260509" y="1832134"/>
                </a:cubicBezTo>
                <a:cubicBezTo>
                  <a:pt x="260509" y="1833086"/>
                  <a:pt x="260509" y="1834039"/>
                  <a:pt x="260509" y="1834991"/>
                </a:cubicBezTo>
                <a:cubicBezTo>
                  <a:pt x="260509" y="1836896"/>
                  <a:pt x="260509" y="1837849"/>
                  <a:pt x="261461" y="1839754"/>
                </a:cubicBezTo>
                <a:cubicBezTo>
                  <a:pt x="259556" y="1840706"/>
                  <a:pt x="257651" y="1842611"/>
                  <a:pt x="257651" y="1844516"/>
                </a:cubicBezTo>
                <a:cubicBezTo>
                  <a:pt x="257651" y="1847374"/>
                  <a:pt x="260509" y="1850231"/>
                  <a:pt x="263366" y="1850231"/>
                </a:cubicBezTo>
                <a:cubicBezTo>
                  <a:pt x="265271" y="1850231"/>
                  <a:pt x="266224" y="1849279"/>
                  <a:pt x="267176" y="1848326"/>
                </a:cubicBezTo>
                <a:cubicBezTo>
                  <a:pt x="268129" y="1849279"/>
                  <a:pt x="270034" y="1850231"/>
                  <a:pt x="270986" y="1850231"/>
                </a:cubicBezTo>
                <a:cubicBezTo>
                  <a:pt x="272891" y="1853089"/>
                  <a:pt x="275749" y="1855946"/>
                  <a:pt x="279559" y="1855946"/>
                </a:cubicBezTo>
                <a:cubicBezTo>
                  <a:pt x="283369" y="1855946"/>
                  <a:pt x="286226" y="1854041"/>
                  <a:pt x="288131" y="1850231"/>
                </a:cubicBezTo>
                <a:cubicBezTo>
                  <a:pt x="291941" y="1852136"/>
                  <a:pt x="295751" y="1854041"/>
                  <a:pt x="300514" y="1854041"/>
                </a:cubicBezTo>
                <a:cubicBezTo>
                  <a:pt x="304324" y="1854041"/>
                  <a:pt x="307181" y="1853089"/>
                  <a:pt x="310039" y="1852136"/>
                </a:cubicBezTo>
                <a:cubicBezTo>
                  <a:pt x="319564" y="1851184"/>
                  <a:pt x="327184" y="1843564"/>
                  <a:pt x="329089" y="1834039"/>
                </a:cubicBezTo>
                <a:cubicBezTo>
                  <a:pt x="330994" y="1832134"/>
                  <a:pt x="332899" y="1830229"/>
                  <a:pt x="334804" y="1828324"/>
                </a:cubicBezTo>
                <a:cubicBezTo>
                  <a:pt x="335756" y="1828324"/>
                  <a:pt x="336709" y="1828324"/>
                  <a:pt x="337661" y="1828324"/>
                </a:cubicBezTo>
                <a:cubicBezTo>
                  <a:pt x="345281" y="1828324"/>
                  <a:pt x="351949" y="1824514"/>
                  <a:pt x="356711" y="1817846"/>
                </a:cubicBezTo>
                <a:cubicBezTo>
                  <a:pt x="360521" y="1818799"/>
                  <a:pt x="364331" y="1819751"/>
                  <a:pt x="368141" y="1819751"/>
                </a:cubicBezTo>
                <a:cubicBezTo>
                  <a:pt x="371951" y="1819751"/>
                  <a:pt x="376714" y="1818799"/>
                  <a:pt x="380524" y="1817846"/>
                </a:cubicBezTo>
                <a:cubicBezTo>
                  <a:pt x="386239" y="1821656"/>
                  <a:pt x="392906" y="1823561"/>
                  <a:pt x="400526" y="1823561"/>
                </a:cubicBezTo>
                <a:cubicBezTo>
                  <a:pt x="421481" y="1823561"/>
                  <a:pt x="437674" y="1806416"/>
                  <a:pt x="437674" y="1786414"/>
                </a:cubicBezTo>
                <a:cubicBezTo>
                  <a:pt x="437674" y="1786414"/>
                  <a:pt x="437674" y="1786414"/>
                  <a:pt x="437674" y="1786414"/>
                </a:cubicBezTo>
                <a:cubicBezTo>
                  <a:pt x="438626" y="1786414"/>
                  <a:pt x="440531" y="1786414"/>
                  <a:pt x="441484" y="1786414"/>
                </a:cubicBezTo>
                <a:cubicBezTo>
                  <a:pt x="446246" y="1786414"/>
                  <a:pt x="451009" y="1785461"/>
                  <a:pt x="454819" y="1782604"/>
                </a:cubicBezTo>
                <a:cubicBezTo>
                  <a:pt x="456724" y="1783556"/>
                  <a:pt x="459581" y="1784509"/>
                  <a:pt x="461486" y="1784509"/>
                </a:cubicBezTo>
                <a:cubicBezTo>
                  <a:pt x="469106" y="1784509"/>
                  <a:pt x="475774" y="1777841"/>
                  <a:pt x="475774" y="1770221"/>
                </a:cubicBezTo>
                <a:cubicBezTo>
                  <a:pt x="475774" y="1767364"/>
                  <a:pt x="474821" y="1764506"/>
                  <a:pt x="472916" y="1762601"/>
                </a:cubicBezTo>
                <a:cubicBezTo>
                  <a:pt x="478631" y="1760696"/>
                  <a:pt x="484346" y="1757839"/>
                  <a:pt x="488156" y="1753076"/>
                </a:cubicBezTo>
                <a:cubicBezTo>
                  <a:pt x="490061" y="1752124"/>
                  <a:pt x="491966" y="1751171"/>
                  <a:pt x="493871" y="1750219"/>
                </a:cubicBezTo>
                <a:cubicBezTo>
                  <a:pt x="493871" y="1750219"/>
                  <a:pt x="493871" y="1750219"/>
                  <a:pt x="493871" y="1751171"/>
                </a:cubicBezTo>
                <a:cubicBezTo>
                  <a:pt x="493871" y="1768316"/>
                  <a:pt x="508159" y="1782604"/>
                  <a:pt x="525304" y="1782604"/>
                </a:cubicBezTo>
                <a:cubicBezTo>
                  <a:pt x="528161" y="1782604"/>
                  <a:pt x="531019" y="1781651"/>
                  <a:pt x="533876" y="1780699"/>
                </a:cubicBezTo>
                <a:cubicBezTo>
                  <a:pt x="538639" y="1783556"/>
                  <a:pt x="543401" y="1785461"/>
                  <a:pt x="550069" y="1785461"/>
                </a:cubicBezTo>
                <a:cubicBezTo>
                  <a:pt x="556736" y="1785461"/>
                  <a:pt x="562451" y="1783556"/>
                  <a:pt x="567214" y="1779746"/>
                </a:cubicBezTo>
                <a:cubicBezTo>
                  <a:pt x="570071" y="1780699"/>
                  <a:pt x="572929" y="1780699"/>
                  <a:pt x="575786" y="1780699"/>
                </a:cubicBezTo>
                <a:cubicBezTo>
                  <a:pt x="586264" y="1780699"/>
                  <a:pt x="595789" y="1775936"/>
                  <a:pt x="601504" y="1769269"/>
                </a:cubicBezTo>
                <a:cubicBezTo>
                  <a:pt x="602456" y="1769269"/>
                  <a:pt x="603409" y="1769269"/>
                  <a:pt x="604361" y="1769269"/>
                </a:cubicBezTo>
                <a:cubicBezTo>
                  <a:pt x="608171" y="1769269"/>
                  <a:pt x="611981" y="1768316"/>
                  <a:pt x="615791" y="1767364"/>
                </a:cubicBezTo>
                <a:cubicBezTo>
                  <a:pt x="621506" y="1780699"/>
                  <a:pt x="635794" y="1791176"/>
                  <a:pt x="651034" y="1791176"/>
                </a:cubicBezTo>
                <a:cubicBezTo>
                  <a:pt x="652939" y="1791176"/>
                  <a:pt x="653891" y="1791176"/>
                  <a:pt x="655796" y="1791176"/>
                </a:cubicBezTo>
                <a:cubicBezTo>
                  <a:pt x="673894" y="1794034"/>
                  <a:pt x="691039" y="1797844"/>
                  <a:pt x="705326" y="1800701"/>
                </a:cubicBezTo>
                <a:cubicBezTo>
                  <a:pt x="758666" y="1812131"/>
                  <a:pt x="911066" y="1835944"/>
                  <a:pt x="1004411" y="1796891"/>
                </a:cubicBezTo>
                <a:cubicBezTo>
                  <a:pt x="1106329" y="1754029"/>
                  <a:pt x="1104424" y="1693069"/>
                  <a:pt x="1087279" y="1637824"/>
                </a:cubicBezTo>
                <a:cubicBezTo>
                  <a:pt x="1072039" y="1586389"/>
                  <a:pt x="1057751" y="1581626"/>
                  <a:pt x="1076801" y="1550194"/>
                </a:cubicBezTo>
                <a:cubicBezTo>
                  <a:pt x="1088231" y="1533049"/>
                  <a:pt x="1138714" y="1535906"/>
                  <a:pt x="1153001" y="1512094"/>
                </a:cubicBezTo>
                <a:cubicBezTo>
                  <a:pt x="1167289" y="1488281"/>
                  <a:pt x="1159669" y="1456849"/>
                  <a:pt x="1149191" y="1437799"/>
                </a:cubicBezTo>
                <a:cubicBezTo>
                  <a:pt x="1138714" y="1418749"/>
                  <a:pt x="1079659" y="1413986"/>
                  <a:pt x="1078706" y="1408271"/>
                </a:cubicBezTo>
                <a:cubicBezTo>
                  <a:pt x="1077754" y="1402556"/>
                  <a:pt x="1132999" y="1377791"/>
                  <a:pt x="1161574" y="1366361"/>
                </a:cubicBezTo>
                <a:cubicBezTo>
                  <a:pt x="1198721" y="1351121"/>
                  <a:pt x="1194911" y="1305401"/>
                  <a:pt x="1186339" y="1283494"/>
                </a:cubicBezTo>
                <a:cubicBezTo>
                  <a:pt x="1177766" y="1261586"/>
                  <a:pt x="1153954" y="1255871"/>
                  <a:pt x="1138714" y="1235869"/>
                </a:cubicBezTo>
                <a:cubicBezTo>
                  <a:pt x="1123474" y="1215866"/>
                  <a:pt x="1137761" y="1171099"/>
                  <a:pt x="1159669" y="1165384"/>
                </a:cubicBezTo>
                <a:cubicBezTo>
                  <a:pt x="1181576" y="1159669"/>
                  <a:pt x="1219676" y="1142524"/>
                  <a:pt x="1240631" y="1103471"/>
                </a:cubicBezTo>
                <a:cubicBezTo>
                  <a:pt x="1254919" y="1067276"/>
                  <a:pt x="1213961" y="1007269"/>
                  <a:pt x="1172051" y="974884"/>
                </a:cubicBezTo>
                <a:close/>
                <a:moveTo>
                  <a:pt x="584359" y="250984"/>
                </a:moveTo>
                <a:cubicBezTo>
                  <a:pt x="583406" y="251936"/>
                  <a:pt x="582454" y="251936"/>
                  <a:pt x="581501" y="252889"/>
                </a:cubicBezTo>
                <a:cubicBezTo>
                  <a:pt x="578644" y="250984"/>
                  <a:pt x="575786" y="250031"/>
                  <a:pt x="572929" y="250031"/>
                </a:cubicBezTo>
                <a:cubicBezTo>
                  <a:pt x="572929" y="250031"/>
                  <a:pt x="572929" y="250031"/>
                  <a:pt x="571976" y="250031"/>
                </a:cubicBezTo>
                <a:cubicBezTo>
                  <a:pt x="571024" y="250031"/>
                  <a:pt x="571024" y="249079"/>
                  <a:pt x="570071" y="249079"/>
                </a:cubicBezTo>
                <a:cubicBezTo>
                  <a:pt x="570071" y="248126"/>
                  <a:pt x="570071" y="247174"/>
                  <a:pt x="570071" y="246221"/>
                </a:cubicBezTo>
                <a:cubicBezTo>
                  <a:pt x="570071" y="245269"/>
                  <a:pt x="570071" y="244316"/>
                  <a:pt x="570071" y="243364"/>
                </a:cubicBezTo>
                <a:cubicBezTo>
                  <a:pt x="575786" y="241459"/>
                  <a:pt x="580549" y="238601"/>
                  <a:pt x="585311" y="234791"/>
                </a:cubicBezTo>
                <a:cubicBezTo>
                  <a:pt x="587216" y="238601"/>
                  <a:pt x="591026" y="242411"/>
                  <a:pt x="595789" y="244316"/>
                </a:cubicBezTo>
                <a:cubicBezTo>
                  <a:pt x="590074" y="244316"/>
                  <a:pt x="586264" y="247174"/>
                  <a:pt x="584359" y="250984"/>
                </a:cubicBezTo>
                <a:close/>
                <a:moveTo>
                  <a:pt x="596741" y="201454"/>
                </a:moveTo>
                <a:cubicBezTo>
                  <a:pt x="596741" y="200501"/>
                  <a:pt x="596741" y="199549"/>
                  <a:pt x="596741" y="198596"/>
                </a:cubicBezTo>
                <a:cubicBezTo>
                  <a:pt x="597694" y="198596"/>
                  <a:pt x="598646" y="199549"/>
                  <a:pt x="598646" y="199549"/>
                </a:cubicBezTo>
                <a:cubicBezTo>
                  <a:pt x="597694" y="200501"/>
                  <a:pt x="597694" y="200501"/>
                  <a:pt x="596741" y="201454"/>
                </a:cubicBezTo>
                <a:close/>
                <a:moveTo>
                  <a:pt x="606266" y="250031"/>
                </a:moveTo>
                <a:cubicBezTo>
                  <a:pt x="605314" y="248126"/>
                  <a:pt x="603409" y="247174"/>
                  <a:pt x="602456" y="245269"/>
                </a:cubicBezTo>
                <a:cubicBezTo>
                  <a:pt x="603409" y="245269"/>
                  <a:pt x="604361" y="245269"/>
                  <a:pt x="605314" y="245269"/>
                </a:cubicBezTo>
                <a:cubicBezTo>
                  <a:pt x="606266" y="245269"/>
                  <a:pt x="608171" y="245269"/>
                  <a:pt x="609124" y="245269"/>
                </a:cubicBezTo>
                <a:cubicBezTo>
                  <a:pt x="607219" y="247174"/>
                  <a:pt x="607219" y="248126"/>
                  <a:pt x="606266" y="250031"/>
                </a:cubicBezTo>
                <a:close/>
                <a:moveTo>
                  <a:pt x="557689" y="407194"/>
                </a:moveTo>
                <a:cubicBezTo>
                  <a:pt x="556736" y="407194"/>
                  <a:pt x="556736" y="407194"/>
                  <a:pt x="555784" y="407194"/>
                </a:cubicBezTo>
                <a:cubicBezTo>
                  <a:pt x="555784" y="406241"/>
                  <a:pt x="555784" y="406241"/>
                  <a:pt x="555784" y="405289"/>
                </a:cubicBezTo>
                <a:cubicBezTo>
                  <a:pt x="555784" y="403384"/>
                  <a:pt x="555784" y="402431"/>
                  <a:pt x="554831" y="400526"/>
                </a:cubicBezTo>
                <a:cubicBezTo>
                  <a:pt x="555784" y="403384"/>
                  <a:pt x="557689" y="405289"/>
                  <a:pt x="559594" y="407194"/>
                </a:cubicBezTo>
                <a:cubicBezTo>
                  <a:pt x="560546" y="407194"/>
                  <a:pt x="559594" y="407194"/>
                  <a:pt x="557689" y="407194"/>
                </a:cubicBezTo>
                <a:close/>
                <a:moveTo>
                  <a:pt x="637699" y="305276"/>
                </a:moveTo>
                <a:cubicBezTo>
                  <a:pt x="638651" y="307181"/>
                  <a:pt x="640556" y="308134"/>
                  <a:pt x="641509" y="309086"/>
                </a:cubicBezTo>
                <a:cubicBezTo>
                  <a:pt x="640556" y="309086"/>
                  <a:pt x="639604" y="310039"/>
                  <a:pt x="638651" y="310039"/>
                </a:cubicBezTo>
                <a:cubicBezTo>
                  <a:pt x="637699" y="308134"/>
                  <a:pt x="637699" y="307181"/>
                  <a:pt x="636746" y="306229"/>
                </a:cubicBezTo>
                <a:cubicBezTo>
                  <a:pt x="636746" y="305276"/>
                  <a:pt x="637699" y="305276"/>
                  <a:pt x="637699" y="305276"/>
                </a:cubicBezTo>
                <a:close/>
                <a:moveTo>
                  <a:pt x="591979" y="417671"/>
                </a:moveTo>
                <a:cubicBezTo>
                  <a:pt x="598646" y="416719"/>
                  <a:pt x="604361" y="413861"/>
                  <a:pt x="609124" y="409099"/>
                </a:cubicBezTo>
                <a:cubicBezTo>
                  <a:pt x="607219" y="411956"/>
                  <a:pt x="606266" y="415766"/>
                  <a:pt x="606266" y="418624"/>
                </a:cubicBezTo>
                <a:cubicBezTo>
                  <a:pt x="606266" y="418624"/>
                  <a:pt x="606266" y="418624"/>
                  <a:pt x="606266" y="418624"/>
                </a:cubicBezTo>
                <a:cubicBezTo>
                  <a:pt x="603409" y="419576"/>
                  <a:pt x="600551" y="422434"/>
                  <a:pt x="598646" y="426244"/>
                </a:cubicBezTo>
                <a:cubicBezTo>
                  <a:pt x="596741" y="423386"/>
                  <a:pt x="593884" y="421481"/>
                  <a:pt x="591026" y="420529"/>
                </a:cubicBezTo>
                <a:cubicBezTo>
                  <a:pt x="591979" y="419576"/>
                  <a:pt x="591979" y="418624"/>
                  <a:pt x="591979" y="417671"/>
                </a:cubicBezTo>
                <a:close/>
                <a:moveTo>
                  <a:pt x="594836" y="511016"/>
                </a:moveTo>
                <a:cubicBezTo>
                  <a:pt x="593884" y="511016"/>
                  <a:pt x="592931" y="510064"/>
                  <a:pt x="591979" y="510064"/>
                </a:cubicBezTo>
                <a:cubicBezTo>
                  <a:pt x="591026" y="510064"/>
                  <a:pt x="590074" y="510064"/>
                  <a:pt x="590074" y="510064"/>
                </a:cubicBezTo>
                <a:cubicBezTo>
                  <a:pt x="589121" y="509111"/>
                  <a:pt x="588169" y="509111"/>
                  <a:pt x="587216" y="508159"/>
                </a:cubicBezTo>
                <a:cubicBezTo>
                  <a:pt x="591026" y="507206"/>
                  <a:pt x="593884" y="505301"/>
                  <a:pt x="597694" y="503396"/>
                </a:cubicBezTo>
                <a:cubicBezTo>
                  <a:pt x="597694" y="504349"/>
                  <a:pt x="597694" y="505301"/>
                  <a:pt x="598646" y="505301"/>
                </a:cubicBezTo>
                <a:cubicBezTo>
                  <a:pt x="595789" y="507206"/>
                  <a:pt x="594836" y="509111"/>
                  <a:pt x="594836" y="511016"/>
                </a:cubicBezTo>
                <a:close/>
                <a:moveTo>
                  <a:pt x="633889" y="447199"/>
                </a:moveTo>
                <a:cubicBezTo>
                  <a:pt x="630079" y="451009"/>
                  <a:pt x="628174" y="455771"/>
                  <a:pt x="627221" y="461486"/>
                </a:cubicBezTo>
                <a:cubicBezTo>
                  <a:pt x="627221" y="461486"/>
                  <a:pt x="626269" y="461486"/>
                  <a:pt x="626269" y="461486"/>
                </a:cubicBezTo>
                <a:cubicBezTo>
                  <a:pt x="615791" y="461486"/>
                  <a:pt x="608171" y="470059"/>
                  <a:pt x="608171" y="479584"/>
                </a:cubicBezTo>
                <a:cubicBezTo>
                  <a:pt x="608171" y="481489"/>
                  <a:pt x="608171" y="482441"/>
                  <a:pt x="609124" y="484346"/>
                </a:cubicBezTo>
                <a:cubicBezTo>
                  <a:pt x="609124" y="484346"/>
                  <a:pt x="608171" y="484346"/>
                  <a:pt x="608171" y="485299"/>
                </a:cubicBezTo>
                <a:cubicBezTo>
                  <a:pt x="608171" y="484346"/>
                  <a:pt x="608171" y="484346"/>
                  <a:pt x="608171" y="483394"/>
                </a:cubicBezTo>
                <a:cubicBezTo>
                  <a:pt x="608171" y="472916"/>
                  <a:pt x="602456" y="464344"/>
                  <a:pt x="593884" y="459581"/>
                </a:cubicBezTo>
                <a:cubicBezTo>
                  <a:pt x="600551" y="456724"/>
                  <a:pt x="604361" y="451009"/>
                  <a:pt x="606266" y="444341"/>
                </a:cubicBezTo>
                <a:cubicBezTo>
                  <a:pt x="608171" y="446246"/>
                  <a:pt x="611029" y="447199"/>
                  <a:pt x="614839" y="447199"/>
                </a:cubicBezTo>
                <a:cubicBezTo>
                  <a:pt x="619601" y="447199"/>
                  <a:pt x="624364" y="444341"/>
                  <a:pt x="626269" y="440531"/>
                </a:cubicBezTo>
                <a:cubicBezTo>
                  <a:pt x="627221" y="440531"/>
                  <a:pt x="629126" y="440531"/>
                  <a:pt x="630079" y="440531"/>
                </a:cubicBezTo>
                <a:cubicBezTo>
                  <a:pt x="631031" y="440531"/>
                  <a:pt x="631031" y="440531"/>
                  <a:pt x="631984" y="440531"/>
                </a:cubicBezTo>
                <a:cubicBezTo>
                  <a:pt x="632936" y="442436"/>
                  <a:pt x="634841" y="443389"/>
                  <a:pt x="636746" y="444341"/>
                </a:cubicBezTo>
                <a:cubicBezTo>
                  <a:pt x="633889" y="445294"/>
                  <a:pt x="633889" y="446246"/>
                  <a:pt x="633889" y="447199"/>
                </a:cubicBezTo>
                <a:cubicBezTo>
                  <a:pt x="633889" y="447199"/>
                  <a:pt x="633889" y="447199"/>
                  <a:pt x="633889" y="447199"/>
                </a:cubicBezTo>
                <a:close/>
                <a:moveTo>
                  <a:pt x="639604" y="402431"/>
                </a:moveTo>
                <a:cubicBezTo>
                  <a:pt x="636746" y="400526"/>
                  <a:pt x="634841" y="399574"/>
                  <a:pt x="631031" y="399574"/>
                </a:cubicBezTo>
                <a:cubicBezTo>
                  <a:pt x="631031" y="395764"/>
                  <a:pt x="628174" y="392906"/>
                  <a:pt x="625316" y="391001"/>
                </a:cubicBezTo>
                <a:cubicBezTo>
                  <a:pt x="625316" y="390049"/>
                  <a:pt x="626269" y="389096"/>
                  <a:pt x="626269" y="388144"/>
                </a:cubicBezTo>
                <a:cubicBezTo>
                  <a:pt x="626269" y="385286"/>
                  <a:pt x="623411" y="382429"/>
                  <a:pt x="620554" y="382429"/>
                </a:cubicBezTo>
                <a:cubicBezTo>
                  <a:pt x="620554" y="379571"/>
                  <a:pt x="619601" y="376714"/>
                  <a:pt x="619601" y="374809"/>
                </a:cubicBezTo>
                <a:cubicBezTo>
                  <a:pt x="621506" y="375761"/>
                  <a:pt x="623411" y="375761"/>
                  <a:pt x="625316" y="375761"/>
                </a:cubicBezTo>
                <a:cubicBezTo>
                  <a:pt x="627221" y="375761"/>
                  <a:pt x="629126" y="374809"/>
                  <a:pt x="631031" y="373856"/>
                </a:cubicBezTo>
                <a:cubicBezTo>
                  <a:pt x="632936" y="377666"/>
                  <a:pt x="637699" y="380524"/>
                  <a:pt x="642461" y="380524"/>
                </a:cubicBezTo>
                <a:cubicBezTo>
                  <a:pt x="642461" y="385286"/>
                  <a:pt x="644366" y="390049"/>
                  <a:pt x="647224" y="394811"/>
                </a:cubicBezTo>
                <a:cubicBezTo>
                  <a:pt x="643414" y="396716"/>
                  <a:pt x="641509" y="399574"/>
                  <a:pt x="639604" y="402431"/>
                </a:cubicBezTo>
                <a:close/>
                <a:moveTo>
                  <a:pt x="343376" y="758666"/>
                </a:moveTo>
                <a:cubicBezTo>
                  <a:pt x="343376" y="757714"/>
                  <a:pt x="343376" y="757714"/>
                  <a:pt x="343376" y="758666"/>
                </a:cubicBezTo>
                <a:cubicBezTo>
                  <a:pt x="343376" y="755809"/>
                  <a:pt x="342424" y="753904"/>
                  <a:pt x="341471" y="751999"/>
                </a:cubicBezTo>
                <a:cubicBezTo>
                  <a:pt x="343376" y="752951"/>
                  <a:pt x="345281" y="752951"/>
                  <a:pt x="346234" y="752951"/>
                </a:cubicBezTo>
                <a:cubicBezTo>
                  <a:pt x="345281" y="754856"/>
                  <a:pt x="344329" y="756761"/>
                  <a:pt x="343376" y="758666"/>
                </a:cubicBezTo>
                <a:close/>
                <a:moveTo>
                  <a:pt x="109061" y="1225391"/>
                </a:moveTo>
                <a:cubicBezTo>
                  <a:pt x="106204" y="1221581"/>
                  <a:pt x="101441" y="1218724"/>
                  <a:pt x="95726" y="1217771"/>
                </a:cubicBezTo>
                <a:cubicBezTo>
                  <a:pt x="99536" y="1216819"/>
                  <a:pt x="103346" y="1213961"/>
                  <a:pt x="104299" y="1210151"/>
                </a:cubicBezTo>
                <a:cubicBezTo>
                  <a:pt x="111919" y="1208246"/>
                  <a:pt x="118586" y="1202531"/>
                  <a:pt x="122396" y="1195864"/>
                </a:cubicBezTo>
                <a:cubicBezTo>
                  <a:pt x="124301" y="1197769"/>
                  <a:pt x="126206" y="1199674"/>
                  <a:pt x="129064" y="1201579"/>
                </a:cubicBezTo>
                <a:cubicBezTo>
                  <a:pt x="118586" y="1204436"/>
                  <a:pt x="110014" y="1213961"/>
                  <a:pt x="109061" y="1225391"/>
                </a:cubicBezTo>
                <a:close/>
                <a:moveTo>
                  <a:pt x="151924" y="1208246"/>
                </a:moveTo>
                <a:cubicBezTo>
                  <a:pt x="150971" y="1207294"/>
                  <a:pt x="150971" y="1207294"/>
                  <a:pt x="150019" y="1206341"/>
                </a:cubicBezTo>
                <a:cubicBezTo>
                  <a:pt x="150971" y="1206341"/>
                  <a:pt x="151924" y="1206341"/>
                  <a:pt x="151924" y="1206341"/>
                </a:cubicBezTo>
                <a:cubicBezTo>
                  <a:pt x="152876" y="1207294"/>
                  <a:pt x="151924" y="1208246"/>
                  <a:pt x="151924" y="1208246"/>
                </a:cubicBezTo>
                <a:close/>
                <a:moveTo>
                  <a:pt x="290989" y="992981"/>
                </a:moveTo>
                <a:cubicBezTo>
                  <a:pt x="291941" y="991076"/>
                  <a:pt x="291941" y="989171"/>
                  <a:pt x="291941" y="986314"/>
                </a:cubicBezTo>
                <a:cubicBezTo>
                  <a:pt x="291941" y="986314"/>
                  <a:pt x="291941" y="986314"/>
                  <a:pt x="291941" y="986314"/>
                </a:cubicBezTo>
                <a:cubicBezTo>
                  <a:pt x="292894" y="986314"/>
                  <a:pt x="293846" y="987266"/>
                  <a:pt x="294799" y="987266"/>
                </a:cubicBezTo>
                <a:cubicBezTo>
                  <a:pt x="293846" y="989171"/>
                  <a:pt x="291941" y="991076"/>
                  <a:pt x="290989" y="992981"/>
                </a:cubicBezTo>
                <a:close/>
                <a:moveTo>
                  <a:pt x="309086" y="1652111"/>
                </a:moveTo>
                <a:cubicBezTo>
                  <a:pt x="309086" y="1651159"/>
                  <a:pt x="309086" y="1650206"/>
                  <a:pt x="310039" y="1649254"/>
                </a:cubicBezTo>
                <a:cubicBezTo>
                  <a:pt x="310039" y="1649254"/>
                  <a:pt x="310991" y="1650206"/>
                  <a:pt x="310991" y="1650206"/>
                </a:cubicBezTo>
                <a:cubicBezTo>
                  <a:pt x="310991" y="1651159"/>
                  <a:pt x="310039" y="1651159"/>
                  <a:pt x="309086" y="1652111"/>
                </a:cubicBezTo>
                <a:close/>
                <a:moveTo>
                  <a:pt x="259556" y="1822609"/>
                </a:moveTo>
                <a:cubicBezTo>
                  <a:pt x="260509" y="1820704"/>
                  <a:pt x="260509" y="1818799"/>
                  <a:pt x="261461" y="1816894"/>
                </a:cubicBezTo>
                <a:cubicBezTo>
                  <a:pt x="262414" y="1816894"/>
                  <a:pt x="264319" y="1816894"/>
                  <a:pt x="265271" y="1816894"/>
                </a:cubicBezTo>
                <a:cubicBezTo>
                  <a:pt x="265271" y="1817846"/>
                  <a:pt x="266224" y="1817846"/>
                  <a:pt x="266224" y="1817846"/>
                </a:cubicBezTo>
                <a:cubicBezTo>
                  <a:pt x="263366" y="1819751"/>
                  <a:pt x="261461" y="1820704"/>
                  <a:pt x="259556" y="1822609"/>
                </a:cubicBezTo>
                <a:close/>
                <a:moveTo>
                  <a:pt x="330994" y="1783556"/>
                </a:moveTo>
                <a:cubicBezTo>
                  <a:pt x="330041" y="1783556"/>
                  <a:pt x="330041" y="1783556"/>
                  <a:pt x="329089" y="1783556"/>
                </a:cubicBezTo>
                <a:cubicBezTo>
                  <a:pt x="328136" y="1782604"/>
                  <a:pt x="327184" y="1781651"/>
                  <a:pt x="326231" y="1781651"/>
                </a:cubicBezTo>
                <a:cubicBezTo>
                  <a:pt x="324326" y="1779746"/>
                  <a:pt x="323374" y="1778794"/>
                  <a:pt x="321469" y="1777841"/>
                </a:cubicBezTo>
                <a:cubicBezTo>
                  <a:pt x="322421" y="1775936"/>
                  <a:pt x="322421" y="1774031"/>
                  <a:pt x="323374" y="1772126"/>
                </a:cubicBezTo>
                <a:cubicBezTo>
                  <a:pt x="325279" y="1773079"/>
                  <a:pt x="327184" y="1773079"/>
                  <a:pt x="329089" y="1773079"/>
                </a:cubicBezTo>
                <a:cubicBezTo>
                  <a:pt x="331946" y="1773079"/>
                  <a:pt x="333851" y="1772126"/>
                  <a:pt x="335756" y="1771174"/>
                </a:cubicBezTo>
                <a:cubicBezTo>
                  <a:pt x="333851" y="1774984"/>
                  <a:pt x="331946" y="1778794"/>
                  <a:pt x="330994" y="1783556"/>
                </a:cubicBezTo>
                <a:close/>
                <a:moveTo>
                  <a:pt x="442436" y="1450181"/>
                </a:moveTo>
                <a:cubicBezTo>
                  <a:pt x="444341" y="1453991"/>
                  <a:pt x="447199" y="1456849"/>
                  <a:pt x="451009" y="1458754"/>
                </a:cubicBezTo>
                <a:cubicBezTo>
                  <a:pt x="448151" y="1460659"/>
                  <a:pt x="446246" y="1462564"/>
                  <a:pt x="444341" y="1465421"/>
                </a:cubicBezTo>
                <a:cubicBezTo>
                  <a:pt x="443389" y="1461611"/>
                  <a:pt x="440531" y="1457801"/>
                  <a:pt x="437674" y="1454944"/>
                </a:cubicBezTo>
                <a:cubicBezTo>
                  <a:pt x="438626" y="1453039"/>
                  <a:pt x="440531" y="1452086"/>
                  <a:pt x="442436" y="1450181"/>
                </a:cubicBezTo>
                <a:close/>
                <a:moveTo>
                  <a:pt x="426244" y="1592104"/>
                </a:moveTo>
                <a:cubicBezTo>
                  <a:pt x="425291" y="1589246"/>
                  <a:pt x="423386" y="1587341"/>
                  <a:pt x="420529" y="1587341"/>
                </a:cubicBezTo>
                <a:cubicBezTo>
                  <a:pt x="420529" y="1587341"/>
                  <a:pt x="419576" y="1587341"/>
                  <a:pt x="419576" y="1587341"/>
                </a:cubicBezTo>
                <a:cubicBezTo>
                  <a:pt x="420529" y="1584484"/>
                  <a:pt x="421481" y="1580674"/>
                  <a:pt x="421481" y="1576864"/>
                </a:cubicBezTo>
                <a:cubicBezTo>
                  <a:pt x="421481" y="1575911"/>
                  <a:pt x="421481" y="1575911"/>
                  <a:pt x="421481" y="1574959"/>
                </a:cubicBezTo>
                <a:cubicBezTo>
                  <a:pt x="421481" y="1574959"/>
                  <a:pt x="422434" y="1574959"/>
                  <a:pt x="422434" y="1574959"/>
                </a:cubicBezTo>
                <a:cubicBezTo>
                  <a:pt x="423386" y="1575911"/>
                  <a:pt x="425291" y="1576864"/>
                  <a:pt x="426244" y="1577816"/>
                </a:cubicBezTo>
                <a:cubicBezTo>
                  <a:pt x="426244" y="1578769"/>
                  <a:pt x="426244" y="1579721"/>
                  <a:pt x="426244" y="1580674"/>
                </a:cubicBezTo>
                <a:cubicBezTo>
                  <a:pt x="426244" y="1585436"/>
                  <a:pt x="427196" y="1589246"/>
                  <a:pt x="430054" y="1593056"/>
                </a:cubicBezTo>
                <a:cubicBezTo>
                  <a:pt x="428149" y="1592104"/>
                  <a:pt x="427196" y="1592104"/>
                  <a:pt x="426244" y="1592104"/>
                </a:cubicBezTo>
                <a:close/>
                <a:moveTo>
                  <a:pt x="431959" y="1518761"/>
                </a:moveTo>
                <a:cubicBezTo>
                  <a:pt x="430054" y="1517809"/>
                  <a:pt x="427196" y="1517809"/>
                  <a:pt x="425291" y="1517809"/>
                </a:cubicBezTo>
                <a:cubicBezTo>
                  <a:pt x="422434" y="1517809"/>
                  <a:pt x="418624" y="1518761"/>
                  <a:pt x="415766" y="1519714"/>
                </a:cubicBezTo>
                <a:cubicBezTo>
                  <a:pt x="415766" y="1518761"/>
                  <a:pt x="416719" y="1517809"/>
                  <a:pt x="416719" y="1515904"/>
                </a:cubicBezTo>
                <a:cubicBezTo>
                  <a:pt x="416719" y="1513046"/>
                  <a:pt x="415766" y="1510189"/>
                  <a:pt x="413861" y="1508284"/>
                </a:cubicBezTo>
                <a:cubicBezTo>
                  <a:pt x="417671" y="1507331"/>
                  <a:pt x="419576" y="1503521"/>
                  <a:pt x="419576" y="1499711"/>
                </a:cubicBezTo>
                <a:cubicBezTo>
                  <a:pt x="419576" y="1497806"/>
                  <a:pt x="418624" y="1496854"/>
                  <a:pt x="418624" y="1494949"/>
                </a:cubicBezTo>
                <a:cubicBezTo>
                  <a:pt x="420529" y="1493044"/>
                  <a:pt x="422434" y="1490186"/>
                  <a:pt x="422434" y="1486376"/>
                </a:cubicBezTo>
                <a:cubicBezTo>
                  <a:pt x="422434" y="1485424"/>
                  <a:pt x="422434" y="1485424"/>
                  <a:pt x="422434" y="1484471"/>
                </a:cubicBezTo>
                <a:cubicBezTo>
                  <a:pt x="422434" y="1484471"/>
                  <a:pt x="422434" y="1484471"/>
                  <a:pt x="422434" y="1484471"/>
                </a:cubicBezTo>
                <a:cubicBezTo>
                  <a:pt x="424339" y="1488281"/>
                  <a:pt x="428149" y="1491139"/>
                  <a:pt x="431959" y="1491139"/>
                </a:cubicBezTo>
                <a:cubicBezTo>
                  <a:pt x="432911" y="1491139"/>
                  <a:pt x="434816" y="1491139"/>
                  <a:pt x="435769" y="1490186"/>
                </a:cubicBezTo>
                <a:cubicBezTo>
                  <a:pt x="435769" y="1491139"/>
                  <a:pt x="436721" y="1492091"/>
                  <a:pt x="436721" y="1493044"/>
                </a:cubicBezTo>
                <a:cubicBezTo>
                  <a:pt x="432911" y="1495901"/>
                  <a:pt x="430054" y="1499711"/>
                  <a:pt x="430054" y="1505426"/>
                </a:cubicBezTo>
                <a:cubicBezTo>
                  <a:pt x="430054" y="1509236"/>
                  <a:pt x="431959" y="1513046"/>
                  <a:pt x="434816" y="1515904"/>
                </a:cubicBezTo>
                <a:cubicBezTo>
                  <a:pt x="432911" y="1518761"/>
                  <a:pt x="431959" y="1518761"/>
                  <a:pt x="431959" y="1518761"/>
                </a:cubicBezTo>
                <a:close/>
                <a:moveTo>
                  <a:pt x="445294" y="1609249"/>
                </a:moveTo>
                <a:cubicBezTo>
                  <a:pt x="442436" y="1606391"/>
                  <a:pt x="439579" y="1604486"/>
                  <a:pt x="435769" y="1603534"/>
                </a:cubicBezTo>
                <a:cubicBezTo>
                  <a:pt x="435769" y="1603534"/>
                  <a:pt x="435769" y="1603534"/>
                  <a:pt x="435769" y="1603534"/>
                </a:cubicBezTo>
                <a:cubicBezTo>
                  <a:pt x="435769" y="1601629"/>
                  <a:pt x="435769" y="1600676"/>
                  <a:pt x="434816" y="1598771"/>
                </a:cubicBezTo>
                <a:cubicBezTo>
                  <a:pt x="438626" y="1601629"/>
                  <a:pt x="443389" y="1603534"/>
                  <a:pt x="449104" y="1603534"/>
                </a:cubicBezTo>
                <a:cubicBezTo>
                  <a:pt x="449104" y="1603534"/>
                  <a:pt x="449104" y="1603534"/>
                  <a:pt x="450056" y="1603534"/>
                </a:cubicBezTo>
                <a:cubicBezTo>
                  <a:pt x="451009" y="1604486"/>
                  <a:pt x="451009" y="1605439"/>
                  <a:pt x="451961" y="1606391"/>
                </a:cubicBezTo>
                <a:cubicBezTo>
                  <a:pt x="449104" y="1607344"/>
                  <a:pt x="447199" y="1608296"/>
                  <a:pt x="445294" y="1609249"/>
                </a:cubicBezTo>
                <a:close/>
                <a:moveTo>
                  <a:pt x="452914" y="1518761"/>
                </a:moveTo>
                <a:cubicBezTo>
                  <a:pt x="452914" y="1518761"/>
                  <a:pt x="451961" y="1517809"/>
                  <a:pt x="451961" y="1517809"/>
                </a:cubicBezTo>
                <a:cubicBezTo>
                  <a:pt x="451961" y="1517809"/>
                  <a:pt x="452914" y="1516856"/>
                  <a:pt x="452914" y="1516856"/>
                </a:cubicBezTo>
                <a:cubicBezTo>
                  <a:pt x="453866" y="1516856"/>
                  <a:pt x="453866" y="1517809"/>
                  <a:pt x="454819" y="1517809"/>
                </a:cubicBezTo>
                <a:cubicBezTo>
                  <a:pt x="452914" y="1518761"/>
                  <a:pt x="452914" y="1518761"/>
                  <a:pt x="452914" y="1518761"/>
                </a:cubicBezTo>
                <a:close/>
                <a:moveTo>
                  <a:pt x="666274" y="511969"/>
                </a:moveTo>
                <a:cubicBezTo>
                  <a:pt x="667226" y="511016"/>
                  <a:pt x="667226" y="510064"/>
                  <a:pt x="668179" y="509111"/>
                </a:cubicBezTo>
                <a:lnTo>
                  <a:pt x="668179" y="511969"/>
                </a:lnTo>
                <a:cubicBezTo>
                  <a:pt x="667226" y="511969"/>
                  <a:pt x="666274" y="511969"/>
                  <a:pt x="666274" y="511969"/>
                </a:cubicBezTo>
                <a:close/>
                <a:moveTo>
                  <a:pt x="657701" y="574834"/>
                </a:moveTo>
                <a:cubicBezTo>
                  <a:pt x="658654" y="574834"/>
                  <a:pt x="659606" y="573881"/>
                  <a:pt x="659606" y="572929"/>
                </a:cubicBezTo>
                <a:lnTo>
                  <a:pt x="659606" y="575786"/>
                </a:lnTo>
                <a:cubicBezTo>
                  <a:pt x="658654" y="575786"/>
                  <a:pt x="658654" y="575786"/>
                  <a:pt x="657701" y="574834"/>
                </a:cubicBezTo>
                <a:close/>
                <a:moveTo>
                  <a:pt x="502444" y="1197769"/>
                </a:moveTo>
                <a:cubicBezTo>
                  <a:pt x="504349" y="1198721"/>
                  <a:pt x="505301" y="1198721"/>
                  <a:pt x="507206" y="1198721"/>
                </a:cubicBezTo>
                <a:cubicBezTo>
                  <a:pt x="509111" y="1198721"/>
                  <a:pt x="510064" y="1198721"/>
                  <a:pt x="511969" y="1197769"/>
                </a:cubicBezTo>
                <a:cubicBezTo>
                  <a:pt x="512921" y="1210151"/>
                  <a:pt x="519589" y="1220629"/>
                  <a:pt x="529114" y="1227296"/>
                </a:cubicBezTo>
                <a:cubicBezTo>
                  <a:pt x="528161" y="1228249"/>
                  <a:pt x="527209" y="1229201"/>
                  <a:pt x="526256" y="1230154"/>
                </a:cubicBezTo>
                <a:cubicBezTo>
                  <a:pt x="525304" y="1230154"/>
                  <a:pt x="525304" y="1230154"/>
                  <a:pt x="524351" y="1230154"/>
                </a:cubicBezTo>
                <a:cubicBezTo>
                  <a:pt x="519589" y="1224439"/>
                  <a:pt x="511969" y="1220629"/>
                  <a:pt x="504349" y="1220629"/>
                </a:cubicBezTo>
                <a:cubicBezTo>
                  <a:pt x="504349" y="1220629"/>
                  <a:pt x="504349" y="1220629"/>
                  <a:pt x="503396" y="1220629"/>
                </a:cubicBezTo>
                <a:cubicBezTo>
                  <a:pt x="501491" y="1217771"/>
                  <a:pt x="499586" y="1215866"/>
                  <a:pt x="497681" y="1213961"/>
                </a:cubicBezTo>
                <a:cubicBezTo>
                  <a:pt x="501491" y="1212056"/>
                  <a:pt x="504349" y="1208246"/>
                  <a:pt x="504349" y="1203484"/>
                </a:cubicBezTo>
                <a:cubicBezTo>
                  <a:pt x="504349" y="1201579"/>
                  <a:pt x="503396" y="1199674"/>
                  <a:pt x="502444" y="1197769"/>
                </a:cubicBezTo>
                <a:close/>
                <a:moveTo>
                  <a:pt x="574834" y="1231106"/>
                </a:moveTo>
                <a:cubicBezTo>
                  <a:pt x="574834" y="1231106"/>
                  <a:pt x="574834" y="1230154"/>
                  <a:pt x="574834" y="1231106"/>
                </a:cubicBezTo>
                <a:cubicBezTo>
                  <a:pt x="576739" y="1229201"/>
                  <a:pt x="578644" y="1228249"/>
                  <a:pt x="579596" y="1226344"/>
                </a:cubicBezTo>
                <a:lnTo>
                  <a:pt x="579596" y="1229201"/>
                </a:lnTo>
                <a:cubicBezTo>
                  <a:pt x="577691" y="1230154"/>
                  <a:pt x="575786" y="1230154"/>
                  <a:pt x="574834" y="1231106"/>
                </a:cubicBezTo>
                <a:close/>
                <a:moveTo>
                  <a:pt x="516731" y="1371124"/>
                </a:moveTo>
                <a:cubicBezTo>
                  <a:pt x="517684" y="1371124"/>
                  <a:pt x="517684" y="1371124"/>
                  <a:pt x="518636" y="1371124"/>
                </a:cubicBezTo>
                <a:cubicBezTo>
                  <a:pt x="517684" y="1372076"/>
                  <a:pt x="517684" y="1372076"/>
                  <a:pt x="516731" y="1373029"/>
                </a:cubicBezTo>
                <a:cubicBezTo>
                  <a:pt x="516731" y="1372076"/>
                  <a:pt x="516731" y="1371124"/>
                  <a:pt x="516731" y="1371124"/>
                </a:cubicBezTo>
                <a:close/>
                <a:moveTo>
                  <a:pt x="615791" y="838676"/>
                </a:moveTo>
                <a:cubicBezTo>
                  <a:pt x="618649" y="842486"/>
                  <a:pt x="622459" y="844391"/>
                  <a:pt x="627221" y="845344"/>
                </a:cubicBezTo>
                <a:lnTo>
                  <a:pt x="627221" y="847249"/>
                </a:lnTo>
                <a:cubicBezTo>
                  <a:pt x="627221" y="848201"/>
                  <a:pt x="626269" y="848201"/>
                  <a:pt x="626269" y="849154"/>
                </a:cubicBezTo>
                <a:cubicBezTo>
                  <a:pt x="624364" y="849154"/>
                  <a:pt x="622459" y="848201"/>
                  <a:pt x="620554" y="848201"/>
                </a:cubicBezTo>
                <a:cubicBezTo>
                  <a:pt x="616744" y="848201"/>
                  <a:pt x="613886" y="849154"/>
                  <a:pt x="610076" y="849154"/>
                </a:cubicBezTo>
                <a:cubicBezTo>
                  <a:pt x="610076" y="848201"/>
                  <a:pt x="610076" y="847249"/>
                  <a:pt x="610076" y="847249"/>
                </a:cubicBezTo>
                <a:cubicBezTo>
                  <a:pt x="610076" y="845344"/>
                  <a:pt x="610076" y="844391"/>
                  <a:pt x="609124" y="842486"/>
                </a:cubicBezTo>
                <a:cubicBezTo>
                  <a:pt x="611029" y="842486"/>
                  <a:pt x="613886" y="840581"/>
                  <a:pt x="615791" y="838676"/>
                </a:cubicBezTo>
                <a:close/>
                <a:moveTo>
                  <a:pt x="571024" y="938689"/>
                </a:moveTo>
                <a:cubicBezTo>
                  <a:pt x="572929" y="941546"/>
                  <a:pt x="574834" y="942499"/>
                  <a:pt x="577691" y="943451"/>
                </a:cubicBezTo>
                <a:cubicBezTo>
                  <a:pt x="576739" y="944404"/>
                  <a:pt x="575786" y="945356"/>
                  <a:pt x="575786" y="946309"/>
                </a:cubicBezTo>
                <a:cubicBezTo>
                  <a:pt x="573881" y="943451"/>
                  <a:pt x="571976" y="940594"/>
                  <a:pt x="571024" y="938689"/>
                </a:cubicBezTo>
                <a:cubicBezTo>
                  <a:pt x="570071" y="938689"/>
                  <a:pt x="571024" y="938689"/>
                  <a:pt x="571024" y="938689"/>
                </a:cubicBezTo>
                <a:close/>
                <a:moveTo>
                  <a:pt x="552926" y="718661"/>
                </a:moveTo>
                <a:cubicBezTo>
                  <a:pt x="558641" y="717709"/>
                  <a:pt x="562451" y="714851"/>
                  <a:pt x="566261" y="710089"/>
                </a:cubicBezTo>
                <a:cubicBezTo>
                  <a:pt x="567214" y="710089"/>
                  <a:pt x="567214" y="710089"/>
                  <a:pt x="568166" y="711041"/>
                </a:cubicBezTo>
                <a:cubicBezTo>
                  <a:pt x="567214" y="713899"/>
                  <a:pt x="567214" y="716756"/>
                  <a:pt x="567214" y="719614"/>
                </a:cubicBezTo>
                <a:cubicBezTo>
                  <a:pt x="567214" y="720566"/>
                  <a:pt x="567214" y="721519"/>
                  <a:pt x="567214" y="723424"/>
                </a:cubicBezTo>
                <a:cubicBezTo>
                  <a:pt x="566261" y="723424"/>
                  <a:pt x="565309" y="723424"/>
                  <a:pt x="565309" y="724376"/>
                </a:cubicBezTo>
                <a:cubicBezTo>
                  <a:pt x="561499" y="722471"/>
                  <a:pt x="557689" y="720566"/>
                  <a:pt x="552926" y="720566"/>
                </a:cubicBezTo>
                <a:cubicBezTo>
                  <a:pt x="552926" y="719614"/>
                  <a:pt x="552926" y="718661"/>
                  <a:pt x="552926" y="718661"/>
                </a:cubicBezTo>
                <a:close/>
                <a:moveTo>
                  <a:pt x="553879" y="816769"/>
                </a:moveTo>
                <a:cubicBezTo>
                  <a:pt x="556736" y="812959"/>
                  <a:pt x="558641" y="809149"/>
                  <a:pt x="559594" y="804386"/>
                </a:cubicBezTo>
                <a:cubicBezTo>
                  <a:pt x="560546" y="804386"/>
                  <a:pt x="560546" y="804386"/>
                  <a:pt x="561499" y="804386"/>
                </a:cubicBezTo>
                <a:cubicBezTo>
                  <a:pt x="563404" y="806291"/>
                  <a:pt x="566261" y="807244"/>
                  <a:pt x="569119" y="808196"/>
                </a:cubicBezTo>
                <a:cubicBezTo>
                  <a:pt x="568166" y="810101"/>
                  <a:pt x="568166" y="812006"/>
                  <a:pt x="568166" y="813911"/>
                </a:cubicBezTo>
                <a:cubicBezTo>
                  <a:pt x="565309" y="815816"/>
                  <a:pt x="563404" y="818674"/>
                  <a:pt x="563404" y="822484"/>
                </a:cubicBezTo>
                <a:cubicBezTo>
                  <a:pt x="563404" y="823436"/>
                  <a:pt x="563404" y="823436"/>
                  <a:pt x="563404" y="824389"/>
                </a:cubicBezTo>
                <a:cubicBezTo>
                  <a:pt x="558641" y="824389"/>
                  <a:pt x="553879" y="825341"/>
                  <a:pt x="550069" y="828199"/>
                </a:cubicBezTo>
                <a:cubicBezTo>
                  <a:pt x="552926" y="824389"/>
                  <a:pt x="553879" y="820579"/>
                  <a:pt x="553879" y="816769"/>
                </a:cubicBezTo>
                <a:close/>
                <a:moveTo>
                  <a:pt x="547211" y="968216"/>
                </a:moveTo>
                <a:cubicBezTo>
                  <a:pt x="547211" y="969169"/>
                  <a:pt x="547211" y="969169"/>
                  <a:pt x="547211" y="970121"/>
                </a:cubicBezTo>
                <a:cubicBezTo>
                  <a:pt x="547211" y="972979"/>
                  <a:pt x="550069" y="975836"/>
                  <a:pt x="552926" y="975836"/>
                </a:cubicBezTo>
                <a:cubicBezTo>
                  <a:pt x="555784" y="975836"/>
                  <a:pt x="557689" y="973931"/>
                  <a:pt x="558641" y="972026"/>
                </a:cubicBezTo>
                <a:cubicBezTo>
                  <a:pt x="558641" y="972026"/>
                  <a:pt x="558641" y="972026"/>
                  <a:pt x="558641" y="972026"/>
                </a:cubicBezTo>
                <a:cubicBezTo>
                  <a:pt x="560546" y="972026"/>
                  <a:pt x="561499" y="972026"/>
                  <a:pt x="563404" y="971074"/>
                </a:cubicBezTo>
                <a:cubicBezTo>
                  <a:pt x="563404" y="972026"/>
                  <a:pt x="562451" y="972979"/>
                  <a:pt x="562451" y="973931"/>
                </a:cubicBezTo>
                <a:cubicBezTo>
                  <a:pt x="562451" y="976789"/>
                  <a:pt x="564356" y="979646"/>
                  <a:pt x="567214" y="980599"/>
                </a:cubicBezTo>
                <a:cubicBezTo>
                  <a:pt x="568166" y="984409"/>
                  <a:pt x="569119" y="988219"/>
                  <a:pt x="571024" y="991076"/>
                </a:cubicBezTo>
                <a:cubicBezTo>
                  <a:pt x="570071" y="991076"/>
                  <a:pt x="568166" y="992029"/>
                  <a:pt x="567214" y="992029"/>
                </a:cubicBezTo>
                <a:cubicBezTo>
                  <a:pt x="565309" y="990124"/>
                  <a:pt x="562451" y="989171"/>
                  <a:pt x="559594" y="989171"/>
                </a:cubicBezTo>
                <a:cubicBezTo>
                  <a:pt x="553879" y="989171"/>
                  <a:pt x="550069" y="992981"/>
                  <a:pt x="548164" y="996791"/>
                </a:cubicBezTo>
                <a:cubicBezTo>
                  <a:pt x="547211" y="997744"/>
                  <a:pt x="546259" y="999649"/>
                  <a:pt x="545306" y="1001554"/>
                </a:cubicBezTo>
                <a:cubicBezTo>
                  <a:pt x="543401" y="998696"/>
                  <a:pt x="539591" y="995839"/>
                  <a:pt x="536734" y="994886"/>
                </a:cubicBezTo>
                <a:cubicBezTo>
                  <a:pt x="536734" y="993934"/>
                  <a:pt x="537686" y="992981"/>
                  <a:pt x="537686" y="992029"/>
                </a:cubicBezTo>
                <a:cubicBezTo>
                  <a:pt x="537686" y="988219"/>
                  <a:pt x="534829" y="985361"/>
                  <a:pt x="531019" y="985361"/>
                </a:cubicBezTo>
                <a:cubicBezTo>
                  <a:pt x="527209" y="985361"/>
                  <a:pt x="524351" y="988219"/>
                  <a:pt x="524351" y="992029"/>
                </a:cubicBezTo>
                <a:cubicBezTo>
                  <a:pt x="524351" y="992981"/>
                  <a:pt x="524351" y="992981"/>
                  <a:pt x="524351" y="993934"/>
                </a:cubicBezTo>
                <a:cubicBezTo>
                  <a:pt x="518636" y="995839"/>
                  <a:pt x="513874" y="999649"/>
                  <a:pt x="511016" y="1004411"/>
                </a:cubicBezTo>
                <a:cubicBezTo>
                  <a:pt x="509111" y="1002506"/>
                  <a:pt x="507206" y="1000601"/>
                  <a:pt x="504349" y="1000601"/>
                </a:cubicBezTo>
                <a:cubicBezTo>
                  <a:pt x="504349" y="1000601"/>
                  <a:pt x="504349" y="1000601"/>
                  <a:pt x="503396" y="1000601"/>
                </a:cubicBezTo>
                <a:cubicBezTo>
                  <a:pt x="503396" y="998696"/>
                  <a:pt x="502444" y="996791"/>
                  <a:pt x="501491" y="995839"/>
                </a:cubicBezTo>
                <a:cubicBezTo>
                  <a:pt x="501491" y="995839"/>
                  <a:pt x="501491" y="995839"/>
                  <a:pt x="502444" y="995839"/>
                </a:cubicBezTo>
                <a:cubicBezTo>
                  <a:pt x="514826" y="995839"/>
                  <a:pt x="524351" y="986314"/>
                  <a:pt x="524351" y="973931"/>
                </a:cubicBezTo>
                <a:cubicBezTo>
                  <a:pt x="524351" y="973931"/>
                  <a:pt x="524351" y="972979"/>
                  <a:pt x="524351" y="972979"/>
                </a:cubicBezTo>
                <a:cubicBezTo>
                  <a:pt x="525304" y="973931"/>
                  <a:pt x="527209" y="973931"/>
                  <a:pt x="529114" y="973931"/>
                </a:cubicBezTo>
                <a:cubicBezTo>
                  <a:pt x="535781" y="973931"/>
                  <a:pt x="541496" y="968216"/>
                  <a:pt x="541496" y="961549"/>
                </a:cubicBezTo>
                <a:cubicBezTo>
                  <a:pt x="541496" y="954881"/>
                  <a:pt x="535781" y="949166"/>
                  <a:pt x="529114" y="949166"/>
                </a:cubicBezTo>
                <a:cubicBezTo>
                  <a:pt x="525304" y="949166"/>
                  <a:pt x="521494" y="951071"/>
                  <a:pt x="519589" y="954881"/>
                </a:cubicBezTo>
                <a:cubicBezTo>
                  <a:pt x="519589" y="953929"/>
                  <a:pt x="520541" y="952024"/>
                  <a:pt x="520541" y="951071"/>
                </a:cubicBezTo>
                <a:cubicBezTo>
                  <a:pt x="520541" y="940594"/>
                  <a:pt x="511969" y="931069"/>
                  <a:pt x="500539" y="931069"/>
                </a:cubicBezTo>
                <a:cubicBezTo>
                  <a:pt x="497681" y="931069"/>
                  <a:pt x="495776" y="932021"/>
                  <a:pt x="492919" y="932974"/>
                </a:cubicBezTo>
                <a:cubicBezTo>
                  <a:pt x="491966" y="929164"/>
                  <a:pt x="488156" y="926306"/>
                  <a:pt x="484346" y="925354"/>
                </a:cubicBezTo>
                <a:cubicBezTo>
                  <a:pt x="485299" y="923449"/>
                  <a:pt x="486251" y="920591"/>
                  <a:pt x="486251" y="917734"/>
                </a:cubicBezTo>
                <a:cubicBezTo>
                  <a:pt x="486251" y="915829"/>
                  <a:pt x="486251" y="914876"/>
                  <a:pt x="485299" y="912971"/>
                </a:cubicBezTo>
                <a:cubicBezTo>
                  <a:pt x="487204" y="911066"/>
                  <a:pt x="488156" y="909161"/>
                  <a:pt x="488156" y="906304"/>
                </a:cubicBezTo>
                <a:cubicBezTo>
                  <a:pt x="488156" y="904399"/>
                  <a:pt x="487204" y="903446"/>
                  <a:pt x="486251" y="901541"/>
                </a:cubicBezTo>
                <a:cubicBezTo>
                  <a:pt x="489109" y="899636"/>
                  <a:pt x="491014" y="896779"/>
                  <a:pt x="492919" y="893921"/>
                </a:cubicBezTo>
                <a:cubicBezTo>
                  <a:pt x="495776" y="899636"/>
                  <a:pt x="500539" y="904399"/>
                  <a:pt x="505301" y="907256"/>
                </a:cubicBezTo>
                <a:cubicBezTo>
                  <a:pt x="505301" y="907256"/>
                  <a:pt x="505301" y="907256"/>
                  <a:pt x="505301" y="907256"/>
                </a:cubicBezTo>
                <a:cubicBezTo>
                  <a:pt x="505301" y="921544"/>
                  <a:pt x="512921" y="934879"/>
                  <a:pt x="525304" y="941546"/>
                </a:cubicBezTo>
                <a:cubicBezTo>
                  <a:pt x="528161" y="945356"/>
                  <a:pt x="532924" y="947261"/>
                  <a:pt x="537686" y="947261"/>
                </a:cubicBezTo>
                <a:cubicBezTo>
                  <a:pt x="537686" y="947261"/>
                  <a:pt x="538639" y="947261"/>
                  <a:pt x="538639" y="947261"/>
                </a:cubicBezTo>
                <a:cubicBezTo>
                  <a:pt x="538639" y="947261"/>
                  <a:pt x="539591" y="947261"/>
                  <a:pt x="539591" y="948214"/>
                </a:cubicBezTo>
                <a:cubicBezTo>
                  <a:pt x="539591" y="949166"/>
                  <a:pt x="539591" y="951071"/>
                  <a:pt x="539591" y="952024"/>
                </a:cubicBezTo>
                <a:cubicBezTo>
                  <a:pt x="539591" y="959644"/>
                  <a:pt x="542449" y="964406"/>
                  <a:pt x="547211" y="968216"/>
                </a:cubicBezTo>
                <a:close/>
                <a:moveTo>
                  <a:pt x="549116" y="1032986"/>
                </a:moveTo>
                <a:cubicBezTo>
                  <a:pt x="543401" y="1036796"/>
                  <a:pt x="539591" y="1041559"/>
                  <a:pt x="536734" y="1048226"/>
                </a:cubicBezTo>
                <a:cubicBezTo>
                  <a:pt x="535781" y="1048226"/>
                  <a:pt x="534829" y="1048226"/>
                  <a:pt x="532924" y="1048226"/>
                </a:cubicBezTo>
                <a:cubicBezTo>
                  <a:pt x="531971" y="1048226"/>
                  <a:pt x="531971" y="1048226"/>
                  <a:pt x="531019" y="1048226"/>
                </a:cubicBezTo>
                <a:cubicBezTo>
                  <a:pt x="531019" y="1048226"/>
                  <a:pt x="531019" y="1048226"/>
                  <a:pt x="531019" y="1047274"/>
                </a:cubicBezTo>
                <a:cubicBezTo>
                  <a:pt x="533876" y="1044416"/>
                  <a:pt x="535781" y="1041559"/>
                  <a:pt x="535781" y="1036796"/>
                </a:cubicBezTo>
                <a:cubicBezTo>
                  <a:pt x="535781" y="1035844"/>
                  <a:pt x="535781" y="1034891"/>
                  <a:pt x="534829" y="1032986"/>
                </a:cubicBezTo>
                <a:cubicBezTo>
                  <a:pt x="540544" y="1031081"/>
                  <a:pt x="545306" y="1025366"/>
                  <a:pt x="547211" y="1018699"/>
                </a:cubicBezTo>
                <a:cubicBezTo>
                  <a:pt x="547211" y="1018699"/>
                  <a:pt x="548164" y="1019651"/>
                  <a:pt x="548164" y="1019651"/>
                </a:cubicBezTo>
                <a:cubicBezTo>
                  <a:pt x="547211" y="1021556"/>
                  <a:pt x="547211" y="1024414"/>
                  <a:pt x="547211" y="1026319"/>
                </a:cubicBezTo>
                <a:cubicBezTo>
                  <a:pt x="548164" y="1029176"/>
                  <a:pt x="548164" y="1031081"/>
                  <a:pt x="549116" y="1032986"/>
                </a:cubicBezTo>
                <a:close/>
                <a:moveTo>
                  <a:pt x="506254" y="814864"/>
                </a:moveTo>
                <a:cubicBezTo>
                  <a:pt x="503396" y="813911"/>
                  <a:pt x="500539" y="812959"/>
                  <a:pt x="497681" y="812959"/>
                </a:cubicBezTo>
                <a:cubicBezTo>
                  <a:pt x="497681" y="812959"/>
                  <a:pt x="497681" y="812959"/>
                  <a:pt x="497681" y="812959"/>
                </a:cubicBezTo>
                <a:cubicBezTo>
                  <a:pt x="501491" y="812006"/>
                  <a:pt x="504349" y="809149"/>
                  <a:pt x="507206" y="806291"/>
                </a:cubicBezTo>
                <a:cubicBezTo>
                  <a:pt x="508159" y="806291"/>
                  <a:pt x="508159" y="805339"/>
                  <a:pt x="509111" y="805339"/>
                </a:cubicBezTo>
                <a:cubicBezTo>
                  <a:pt x="509111" y="805339"/>
                  <a:pt x="509111" y="805339"/>
                  <a:pt x="509111" y="806291"/>
                </a:cubicBezTo>
                <a:cubicBezTo>
                  <a:pt x="507206" y="808196"/>
                  <a:pt x="506254" y="810101"/>
                  <a:pt x="506254" y="812959"/>
                </a:cubicBezTo>
                <a:cubicBezTo>
                  <a:pt x="506254" y="812959"/>
                  <a:pt x="506254" y="813911"/>
                  <a:pt x="506254" y="814864"/>
                </a:cubicBezTo>
                <a:close/>
                <a:moveTo>
                  <a:pt x="521494" y="822484"/>
                </a:moveTo>
                <a:cubicBezTo>
                  <a:pt x="524351" y="828199"/>
                  <a:pt x="530066" y="832961"/>
                  <a:pt x="536734" y="832961"/>
                </a:cubicBezTo>
                <a:cubicBezTo>
                  <a:pt x="538639" y="832961"/>
                  <a:pt x="541496" y="832961"/>
                  <a:pt x="543401" y="832009"/>
                </a:cubicBezTo>
                <a:cubicBezTo>
                  <a:pt x="540544" y="834866"/>
                  <a:pt x="538639" y="838676"/>
                  <a:pt x="536734" y="842486"/>
                </a:cubicBezTo>
                <a:cubicBezTo>
                  <a:pt x="535781" y="842486"/>
                  <a:pt x="534829" y="842486"/>
                  <a:pt x="533876" y="842486"/>
                </a:cubicBezTo>
                <a:cubicBezTo>
                  <a:pt x="526256" y="842486"/>
                  <a:pt x="519589" y="848201"/>
                  <a:pt x="517684" y="854869"/>
                </a:cubicBezTo>
                <a:cubicBezTo>
                  <a:pt x="517684" y="854869"/>
                  <a:pt x="517684" y="854869"/>
                  <a:pt x="517684" y="854869"/>
                </a:cubicBezTo>
                <a:cubicBezTo>
                  <a:pt x="516731" y="854869"/>
                  <a:pt x="516731" y="854869"/>
                  <a:pt x="515779" y="854869"/>
                </a:cubicBezTo>
                <a:cubicBezTo>
                  <a:pt x="519589" y="850106"/>
                  <a:pt x="522446" y="844391"/>
                  <a:pt x="522446" y="838676"/>
                </a:cubicBezTo>
                <a:cubicBezTo>
                  <a:pt x="522446" y="832009"/>
                  <a:pt x="519589" y="825341"/>
                  <a:pt x="514826" y="820579"/>
                </a:cubicBezTo>
                <a:cubicBezTo>
                  <a:pt x="515779" y="820579"/>
                  <a:pt x="516731" y="820579"/>
                  <a:pt x="516731" y="819626"/>
                </a:cubicBezTo>
                <a:cubicBezTo>
                  <a:pt x="518636" y="820579"/>
                  <a:pt x="519589" y="821531"/>
                  <a:pt x="521494" y="822484"/>
                </a:cubicBezTo>
                <a:close/>
                <a:moveTo>
                  <a:pt x="487204" y="723424"/>
                </a:moveTo>
                <a:cubicBezTo>
                  <a:pt x="488156" y="725329"/>
                  <a:pt x="489109" y="726281"/>
                  <a:pt x="490061" y="728186"/>
                </a:cubicBezTo>
                <a:cubicBezTo>
                  <a:pt x="489109" y="729139"/>
                  <a:pt x="487204" y="730091"/>
                  <a:pt x="486251" y="731996"/>
                </a:cubicBezTo>
                <a:cubicBezTo>
                  <a:pt x="487204" y="729139"/>
                  <a:pt x="487204" y="727234"/>
                  <a:pt x="487204" y="723424"/>
                </a:cubicBezTo>
                <a:cubicBezTo>
                  <a:pt x="487204" y="724376"/>
                  <a:pt x="487204" y="723424"/>
                  <a:pt x="487204" y="723424"/>
                </a:cubicBezTo>
                <a:close/>
                <a:moveTo>
                  <a:pt x="362426" y="708184"/>
                </a:moveTo>
                <a:cubicBezTo>
                  <a:pt x="370999" y="708184"/>
                  <a:pt x="377666" y="703421"/>
                  <a:pt x="380524" y="695801"/>
                </a:cubicBezTo>
                <a:cubicBezTo>
                  <a:pt x="381476" y="695801"/>
                  <a:pt x="382429" y="694849"/>
                  <a:pt x="383381" y="694849"/>
                </a:cubicBezTo>
                <a:cubicBezTo>
                  <a:pt x="385286" y="699611"/>
                  <a:pt x="389096" y="702469"/>
                  <a:pt x="392906" y="705326"/>
                </a:cubicBezTo>
                <a:cubicBezTo>
                  <a:pt x="383381" y="710089"/>
                  <a:pt x="376714" y="716756"/>
                  <a:pt x="371951" y="726281"/>
                </a:cubicBezTo>
                <a:cubicBezTo>
                  <a:pt x="370999" y="718661"/>
                  <a:pt x="366236" y="711994"/>
                  <a:pt x="360521" y="708184"/>
                </a:cubicBezTo>
                <a:cubicBezTo>
                  <a:pt x="361474" y="708184"/>
                  <a:pt x="361474" y="708184"/>
                  <a:pt x="362426" y="708184"/>
                </a:cubicBezTo>
                <a:close/>
                <a:moveTo>
                  <a:pt x="453866" y="781526"/>
                </a:moveTo>
                <a:cubicBezTo>
                  <a:pt x="448151" y="781526"/>
                  <a:pt x="443389" y="786289"/>
                  <a:pt x="443389" y="791051"/>
                </a:cubicBezTo>
                <a:cubicBezTo>
                  <a:pt x="443389" y="795814"/>
                  <a:pt x="446246" y="798671"/>
                  <a:pt x="450056" y="800576"/>
                </a:cubicBezTo>
                <a:cubicBezTo>
                  <a:pt x="445294" y="802481"/>
                  <a:pt x="441484" y="805339"/>
                  <a:pt x="438626" y="809149"/>
                </a:cubicBezTo>
                <a:cubicBezTo>
                  <a:pt x="428149" y="810101"/>
                  <a:pt x="419576" y="818674"/>
                  <a:pt x="419576" y="830104"/>
                </a:cubicBezTo>
                <a:cubicBezTo>
                  <a:pt x="419576" y="835819"/>
                  <a:pt x="421481" y="840581"/>
                  <a:pt x="425291" y="844391"/>
                </a:cubicBezTo>
                <a:cubicBezTo>
                  <a:pt x="424339" y="845344"/>
                  <a:pt x="424339" y="845344"/>
                  <a:pt x="423386" y="846296"/>
                </a:cubicBezTo>
                <a:cubicBezTo>
                  <a:pt x="418624" y="839629"/>
                  <a:pt x="411956" y="833914"/>
                  <a:pt x="404336" y="832009"/>
                </a:cubicBezTo>
                <a:cubicBezTo>
                  <a:pt x="401479" y="830104"/>
                  <a:pt x="398621" y="828199"/>
                  <a:pt x="394811" y="828199"/>
                </a:cubicBezTo>
                <a:cubicBezTo>
                  <a:pt x="391954" y="828199"/>
                  <a:pt x="389096" y="829151"/>
                  <a:pt x="386239" y="831056"/>
                </a:cubicBezTo>
                <a:cubicBezTo>
                  <a:pt x="378619" y="832961"/>
                  <a:pt x="372904" y="836771"/>
                  <a:pt x="368141" y="842486"/>
                </a:cubicBezTo>
                <a:cubicBezTo>
                  <a:pt x="367189" y="840581"/>
                  <a:pt x="365284" y="838676"/>
                  <a:pt x="363379" y="837724"/>
                </a:cubicBezTo>
                <a:cubicBezTo>
                  <a:pt x="362426" y="832961"/>
                  <a:pt x="360521" y="829151"/>
                  <a:pt x="357664" y="826294"/>
                </a:cubicBezTo>
                <a:cubicBezTo>
                  <a:pt x="365284" y="822484"/>
                  <a:pt x="370046" y="815816"/>
                  <a:pt x="370046" y="807244"/>
                </a:cubicBezTo>
                <a:cubicBezTo>
                  <a:pt x="370999" y="807244"/>
                  <a:pt x="371951" y="807244"/>
                  <a:pt x="372904" y="807244"/>
                </a:cubicBezTo>
                <a:cubicBezTo>
                  <a:pt x="378619" y="807244"/>
                  <a:pt x="383381" y="806291"/>
                  <a:pt x="388144" y="803434"/>
                </a:cubicBezTo>
                <a:cubicBezTo>
                  <a:pt x="386239" y="805339"/>
                  <a:pt x="385286" y="808196"/>
                  <a:pt x="385286" y="811054"/>
                </a:cubicBezTo>
                <a:cubicBezTo>
                  <a:pt x="385286" y="817721"/>
                  <a:pt x="391001" y="823436"/>
                  <a:pt x="397669" y="823436"/>
                </a:cubicBezTo>
                <a:cubicBezTo>
                  <a:pt x="404336" y="823436"/>
                  <a:pt x="410051" y="817721"/>
                  <a:pt x="410051" y="811054"/>
                </a:cubicBezTo>
                <a:cubicBezTo>
                  <a:pt x="410051" y="804386"/>
                  <a:pt x="404336" y="798671"/>
                  <a:pt x="397669" y="798671"/>
                </a:cubicBezTo>
                <a:cubicBezTo>
                  <a:pt x="396716" y="798671"/>
                  <a:pt x="395764" y="798671"/>
                  <a:pt x="394811" y="799624"/>
                </a:cubicBezTo>
                <a:cubicBezTo>
                  <a:pt x="395764" y="798671"/>
                  <a:pt x="396716" y="797719"/>
                  <a:pt x="398621" y="795814"/>
                </a:cubicBezTo>
                <a:cubicBezTo>
                  <a:pt x="406241" y="795814"/>
                  <a:pt x="412909" y="792004"/>
                  <a:pt x="416719" y="787241"/>
                </a:cubicBezTo>
                <a:cubicBezTo>
                  <a:pt x="419576" y="788194"/>
                  <a:pt x="421481" y="788194"/>
                  <a:pt x="424339" y="788194"/>
                </a:cubicBezTo>
                <a:cubicBezTo>
                  <a:pt x="441484" y="788194"/>
                  <a:pt x="454819" y="775811"/>
                  <a:pt x="456724" y="759619"/>
                </a:cubicBezTo>
                <a:cubicBezTo>
                  <a:pt x="457676" y="759619"/>
                  <a:pt x="459581" y="759619"/>
                  <a:pt x="460534" y="759619"/>
                </a:cubicBezTo>
                <a:cubicBezTo>
                  <a:pt x="471011" y="759619"/>
                  <a:pt x="479584" y="752951"/>
                  <a:pt x="482441" y="743426"/>
                </a:cubicBezTo>
                <a:cubicBezTo>
                  <a:pt x="483394" y="751999"/>
                  <a:pt x="490061" y="757714"/>
                  <a:pt x="498634" y="757714"/>
                </a:cubicBezTo>
                <a:cubicBezTo>
                  <a:pt x="507206" y="757714"/>
                  <a:pt x="513874" y="751046"/>
                  <a:pt x="514826" y="742474"/>
                </a:cubicBezTo>
                <a:cubicBezTo>
                  <a:pt x="514826" y="742474"/>
                  <a:pt x="515779" y="742474"/>
                  <a:pt x="515779" y="742474"/>
                </a:cubicBezTo>
                <a:cubicBezTo>
                  <a:pt x="514826" y="745331"/>
                  <a:pt x="513874" y="749141"/>
                  <a:pt x="513874" y="751999"/>
                </a:cubicBezTo>
                <a:cubicBezTo>
                  <a:pt x="513874" y="752951"/>
                  <a:pt x="513874" y="753904"/>
                  <a:pt x="513874" y="755809"/>
                </a:cubicBezTo>
                <a:cubicBezTo>
                  <a:pt x="511016" y="759619"/>
                  <a:pt x="509111" y="763429"/>
                  <a:pt x="509111" y="768191"/>
                </a:cubicBezTo>
                <a:cubicBezTo>
                  <a:pt x="509111" y="773906"/>
                  <a:pt x="511016" y="778669"/>
                  <a:pt x="514826" y="781526"/>
                </a:cubicBezTo>
                <a:cubicBezTo>
                  <a:pt x="512921" y="783431"/>
                  <a:pt x="511016" y="785336"/>
                  <a:pt x="510064" y="788194"/>
                </a:cubicBezTo>
                <a:cubicBezTo>
                  <a:pt x="508159" y="785336"/>
                  <a:pt x="505301" y="783431"/>
                  <a:pt x="501491" y="783431"/>
                </a:cubicBezTo>
                <a:cubicBezTo>
                  <a:pt x="498634" y="781526"/>
                  <a:pt x="495776" y="780574"/>
                  <a:pt x="491966" y="780574"/>
                </a:cubicBezTo>
                <a:cubicBezTo>
                  <a:pt x="491014" y="780574"/>
                  <a:pt x="490061" y="780574"/>
                  <a:pt x="490061" y="780574"/>
                </a:cubicBezTo>
                <a:cubicBezTo>
                  <a:pt x="490061" y="780574"/>
                  <a:pt x="490061" y="779621"/>
                  <a:pt x="490061" y="779621"/>
                </a:cubicBezTo>
                <a:cubicBezTo>
                  <a:pt x="490061" y="772954"/>
                  <a:pt x="484346" y="767239"/>
                  <a:pt x="477679" y="767239"/>
                </a:cubicBezTo>
                <a:cubicBezTo>
                  <a:pt x="471011" y="767239"/>
                  <a:pt x="465296" y="772954"/>
                  <a:pt x="465296" y="779621"/>
                </a:cubicBezTo>
                <a:cubicBezTo>
                  <a:pt x="465296" y="784384"/>
                  <a:pt x="468154" y="787241"/>
                  <a:pt x="471011" y="790099"/>
                </a:cubicBezTo>
                <a:cubicBezTo>
                  <a:pt x="465296" y="792004"/>
                  <a:pt x="461486" y="794861"/>
                  <a:pt x="458629" y="799624"/>
                </a:cubicBezTo>
                <a:cubicBezTo>
                  <a:pt x="458629" y="799624"/>
                  <a:pt x="457676" y="799624"/>
                  <a:pt x="457676" y="799624"/>
                </a:cubicBezTo>
                <a:cubicBezTo>
                  <a:pt x="460534" y="797719"/>
                  <a:pt x="462439" y="794861"/>
                  <a:pt x="462439" y="791051"/>
                </a:cubicBezTo>
                <a:cubicBezTo>
                  <a:pt x="463391" y="786289"/>
                  <a:pt x="459581" y="781526"/>
                  <a:pt x="453866" y="781526"/>
                </a:cubicBezTo>
                <a:close/>
                <a:moveTo>
                  <a:pt x="481489" y="946309"/>
                </a:moveTo>
                <a:cubicBezTo>
                  <a:pt x="480536" y="948214"/>
                  <a:pt x="480536" y="950119"/>
                  <a:pt x="480536" y="951071"/>
                </a:cubicBezTo>
                <a:cubicBezTo>
                  <a:pt x="478631" y="945356"/>
                  <a:pt x="474821" y="940594"/>
                  <a:pt x="470059" y="936784"/>
                </a:cubicBezTo>
                <a:cubicBezTo>
                  <a:pt x="471011" y="936784"/>
                  <a:pt x="472916" y="935831"/>
                  <a:pt x="473869" y="935831"/>
                </a:cubicBezTo>
                <a:cubicBezTo>
                  <a:pt x="473869" y="935831"/>
                  <a:pt x="473869" y="935831"/>
                  <a:pt x="473869" y="935831"/>
                </a:cubicBezTo>
                <a:cubicBezTo>
                  <a:pt x="472916" y="941546"/>
                  <a:pt x="476726" y="945356"/>
                  <a:pt x="481489" y="946309"/>
                </a:cubicBezTo>
                <a:close/>
                <a:moveTo>
                  <a:pt x="345281" y="1095851"/>
                </a:moveTo>
                <a:cubicBezTo>
                  <a:pt x="345281" y="1095851"/>
                  <a:pt x="345281" y="1095851"/>
                  <a:pt x="345281" y="1095851"/>
                </a:cubicBezTo>
                <a:cubicBezTo>
                  <a:pt x="345281" y="1095851"/>
                  <a:pt x="345281" y="1095851"/>
                  <a:pt x="345281" y="1095851"/>
                </a:cubicBezTo>
                <a:cubicBezTo>
                  <a:pt x="345281" y="1095851"/>
                  <a:pt x="345281" y="1095851"/>
                  <a:pt x="345281" y="1095851"/>
                </a:cubicBezTo>
                <a:close/>
                <a:moveTo>
                  <a:pt x="423386" y="1187291"/>
                </a:moveTo>
                <a:cubicBezTo>
                  <a:pt x="422434" y="1187291"/>
                  <a:pt x="421481" y="1187291"/>
                  <a:pt x="421481" y="1188244"/>
                </a:cubicBezTo>
                <a:cubicBezTo>
                  <a:pt x="422434" y="1186339"/>
                  <a:pt x="423386" y="1183481"/>
                  <a:pt x="423386" y="1181576"/>
                </a:cubicBezTo>
                <a:cubicBezTo>
                  <a:pt x="424339" y="1181576"/>
                  <a:pt x="425291" y="1182529"/>
                  <a:pt x="426244" y="1182529"/>
                </a:cubicBezTo>
                <a:cubicBezTo>
                  <a:pt x="427196" y="1183481"/>
                  <a:pt x="428149" y="1184434"/>
                  <a:pt x="430054" y="1185386"/>
                </a:cubicBezTo>
                <a:cubicBezTo>
                  <a:pt x="427196" y="1185386"/>
                  <a:pt x="425291" y="1186339"/>
                  <a:pt x="423386" y="1187291"/>
                </a:cubicBezTo>
                <a:close/>
                <a:moveTo>
                  <a:pt x="432911" y="1183481"/>
                </a:moveTo>
                <a:cubicBezTo>
                  <a:pt x="432911" y="1183481"/>
                  <a:pt x="432911" y="1183481"/>
                  <a:pt x="432911" y="1183481"/>
                </a:cubicBezTo>
                <a:cubicBezTo>
                  <a:pt x="433864" y="1183481"/>
                  <a:pt x="433864" y="1183481"/>
                  <a:pt x="432911" y="1183481"/>
                </a:cubicBezTo>
                <a:cubicBezTo>
                  <a:pt x="433864" y="1183481"/>
                  <a:pt x="432911" y="1183481"/>
                  <a:pt x="432911" y="1183481"/>
                </a:cubicBezTo>
                <a:close/>
                <a:moveTo>
                  <a:pt x="455771" y="1106329"/>
                </a:moveTo>
                <a:cubicBezTo>
                  <a:pt x="450056" y="1108234"/>
                  <a:pt x="445294" y="1112044"/>
                  <a:pt x="443389" y="1117759"/>
                </a:cubicBezTo>
                <a:cubicBezTo>
                  <a:pt x="440531" y="1116806"/>
                  <a:pt x="437674" y="1115854"/>
                  <a:pt x="433864" y="1115854"/>
                </a:cubicBezTo>
                <a:cubicBezTo>
                  <a:pt x="415766" y="1115854"/>
                  <a:pt x="400526" y="1131094"/>
                  <a:pt x="400526" y="1149191"/>
                </a:cubicBezTo>
                <a:cubicBezTo>
                  <a:pt x="400526" y="1153954"/>
                  <a:pt x="401479" y="1158716"/>
                  <a:pt x="403384" y="1162526"/>
                </a:cubicBezTo>
                <a:cubicBezTo>
                  <a:pt x="393859" y="1163479"/>
                  <a:pt x="387191" y="1171099"/>
                  <a:pt x="387191" y="1179671"/>
                </a:cubicBezTo>
                <a:cubicBezTo>
                  <a:pt x="387191" y="1185386"/>
                  <a:pt x="390049" y="1191101"/>
                  <a:pt x="394811" y="1193959"/>
                </a:cubicBezTo>
                <a:cubicBezTo>
                  <a:pt x="391001" y="1196816"/>
                  <a:pt x="389096" y="1201579"/>
                  <a:pt x="389096" y="1206341"/>
                </a:cubicBezTo>
                <a:cubicBezTo>
                  <a:pt x="389096" y="1213009"/>
                  <a:pt x="392906" y="1218724"/>
                  <a:pt x="399574" y="1221581"/>
                </a:cubicBezTo>
                <a:cubicBezTo>
                  <a:pt x="400526" y="1226344"/>
                  <a:pt x="404336" y="1230154"/>
                  <a:pt x="409099" y="1231106"/>
                </a:cubicBezTo>
                <a:cubicBezTo>
                  <a:pt x="401479" y="1234916"/>
                  <a:pt x="394811" y="1241584"/>
                  <a:pt x="392906" y="1250156"/>
                </a:cubicBezTo>
                <a:cubicBezTo>
                  <a:pt x="391954" y="1250156"/>
                  <a:pt x="391001" y="1250156"/>
                  <a:pt x="390049" y="1251109"/>
                </a:cubicBezTo>
                <a:cubicBezTo>
                  <a:pt x="390049" y="1249204"/>
                  <a:pt x="389096" y="1247299"/>
                  <a:pt x="388144" y="1245394"/>
                </a:cubicBezTo>
                <a:cubicBezTo>
                  <a:pt x="389096" y="1244441"/>
                  <a:pt x="389096" y="1243489"/>
                  <a:pt x="390049" y="1241584"/>
                </a:cubicBezTo>
                <a:cubicBezTo>
                  <a:pt x="393859" y="1239679"/>
                  <a:pt x="396716" y="1234916"/>
                  <a:pt x="396716" y="1230154"/>
                </a:cubicBezTo>
                <a:cubicBezTo>
                  <a:pt x="396716" y="1224439"/>
                  <a:pt x="392906" y="1219676"/>
                  <a:pt x="388144" y="1217771"/>
                </a:cubicBezTo>
                <a:cubicBezTo>
                  <a:pt x="386239" y="1213961"/>
                  <a:pt x="382429" y="1210151"/>
                  <a:pt x="378619" y="1207294"/>
                </a:cubicBezTo>
                <a:cubicBezTo>
                  <a:pt x="374809" y="1202531"/>
                  <a:pt x="369094" y="1199674"/>
                  <a:pt x="362426" y="1199674"/>
                </a:cubicBezTo>
                <a:cubicBezTo>
                  <a:pt x="353854" y="1199674"/>
                  <a:pt x="346234" y="1204436"/>
                  <a:pt x="343376" y="1212056"/>
                </a:cubicBezTo>
                <a:cubicBezTo>
                  <a:pt x="342424" y="1213961"/>
                  <a:pt x="340519" y="1214914"/>
                  <a:pt x="339566" y="1216819"/>
                </a:cubicBezTo>
                <a:cubicBezTo>
                  <a:pt x="329089" y="1216819"/>
                  <a:pt x="319564" y="1224439"/>
                  <a:pt x="316706" y="1233964"/>
                </a:cubicBezTo>
                <a:cubicBezTo>
                  <a:pt x="316706" y="1233011"/>
                  <a:pt x="316706" y="1232059"/>
                  <a:pt x="315754" y="1231106"/>
                </a:cubicBezTo>
                <a:cubicBezTo>
                  <a:pt x="315754" y="1230154"/>
                  <a:pt x="315754" y="1230154"/>
                  <a:pt x="315754" y="1229201"/>
                </a:cubicBezTo>
                <a:cubicBezTo>
                  <a:pt x="315754" y="1223486"/>
                  <a:pt x="313849" y="1217771"/>
                  <a:pt x="310991" y="1213961"/>
                </a:cubicBezTo>
                <a:cubicBezTo>
                  <a:pt x="322421" y="1210151"/>
                  <a:pt x="331946" y="1199674"/>
                  <a:pt x="331946" y="1186339"/>
                </a:cubicBezTo>
                <a:cubicBezTo>
                  <a:pt x="331946" y="1174909"/>
                  <a:pt x="325279" y="1166336"/>
                  <a:pt x="316706" y="1161574"/>
                </a:cubicBezTo>
                <a:cubicBezTo>
                  <a:pt x="316706" y="1161574"/>
                  <a:pt x="316706" y="1160621"/>
                  <a:pt x="316706" y="1160621"/>
                </a:cubicBezTo>
                <a:cubicBezTo>
                  <a:pt x="318611" y="1159669"/>
                  <a:pt x="319564" y="1158716"/>
                  <a:pt x="320516" y="1156811"/>
                </a:cubicBezTo>
                <a:cubicBezTo>
                  <a:pt x="321469" y="1156811"/>
                  <a:pt x="322421" y="1157764"/>
                  <a:pt x="323374" y="1157764"/>
                </a:cubicBezTo>
                <a:cubicBezTo>
                  <a:pt x="322421" y="1158716"/>
                  <a:pt x="322421" y="1159669"/>
                  <a:pt x="322421" y="1160621"/>
                </a:cubicBezTo>
                <a:cubicBezTo>
                  <a:pt x="322421" y="1163479"/>
                  <a:pt x="325279" y="1166336"/>
                  <a:pt x="328136" y="1166336"/>
                </a:cubicBezTo>
                <a:cubicBezTo>
                  <a:pt x="329089" y="1166336"/>
                  <a:pt x="330041" y="1166336"/>
                  <a:pt x="330041" y="1166336"/>
                </a:cubicBezTo>
                <a:cubicBezTo>
                  <a:pt x="331946" y="1167289"/>
                  <a:pt x="333851" y="1168241"/>
                  <a:pt x="335756" y="1168241"/>
                </a:cubicBezTo>
                <a:cubicBezTo>
                  <a:pt x="341471" y="1168241"/>
                  <a:pt x="346234" y="1163479"/>
                  <a:pt x="346234" y="1157764"/>
                </a:cubicBezTo>
                <a:cubicBezTo>
                  <a:pt x="346234" y="1156811"/>
                  <a:pt x="346234" y="1154906"/>
                  <a:pt x="345281" y="1153954"/>
                </a:cubicBezTo>
                <a:cubicBezTo>
                  <a:pt x="348139" y="1152049"/>
                  <a:pt x="350996" y="1149191"/>
                  <a:pt x="353854" y="1146334"/>
                </a:cubicBezTo>
                <a:cubicBezTo>
                  <a:pt x="356711" y="1149191"/>
                  <a:pt x="361474" y="1151096"/>
                  <a:pt x="366236" y="1151096"/>
                </a:cubicBezTo>
                <a:cubicBezTo>
                  <a:pt x="373856" y="1151096"/>
                  <a:pt x="380524" y="1146334"/>
                  <a:pt x="382429" y="1140619"/>
                </a:cubicBezTo>
                <a:cubicBezTo>
                  <a:pt x="383381" y="1141571"/>
                  <a:pt x="384334" y="1142524"/>
                  <a:pt x="386239" y="1142524"/>
                </a:cubicBezTo>
                <a:cubicBezTo>
                  <a:pt x="389096" y="1142524"/>
                  <a:pt x="391001" y="1140619"/>
                  <a:pt x="391001" y="1137761"/>
                </a:cubicBezTo>
                <a:cubicBezTo>
                  <a:pt x="391001" y="1134904"/>
                  <a:pt x="389096" y="1132999"/>
                  <a:pt x="386239" y="1132999"/>
                </a:cubicBezTo>
                <a:cubicBezTo>
                  <a:pt x="385286" y="1132999"/>
                  <a:pt x="384334" y="1132999"/>
                  <a:pt x="384334" y="1133951"/>
                </a:cubicBezTo>
                <a:cubicBezTo>
                  <a:pt x="384334" y="1133951"/>
                  <a:pt x="384334" y="1133951"/>
                  <a:pt x="384334" y="1133951"/>
                </a:cubicBezTo>
                <a:cubicBezTo>
                  <a:pt x="384334" y="1132046"/>
                  <a:pt x="384334" y="1130141"/>
                  <a:pt x="383381" y="1129189"/>
                </a:cubicBezTo>
                <a:cubicBezTo>
                  <a:pt x="384334" y="1127284"/>
                  <a:pt x="385286" y="1124426"/>
                  <a:pt x="385286" y="1122521"/>
                </a:cubicBezTo>
                <a:cubicBezTo>
                  <a:pt x="385286" y="1116806"/>
                  <a:pt x="382429" y="1112044"/>
                  <a:pt x="378619" y="1109186"/>
                </a:cubicBezTo>
                <a:cubicBezTo>
                  <a:pt x="382429" y="1108234"/>
                  <a:pt x="386239" y="1105376"/>
                  <a:pt x="388144" y="1101566"/>
                </a:cubicBezTo>
                <a:cubicBezTo>
                  <a:pt x="389096" y="1101566"/>
                  <a:pt x="390049" y="1101566"/>
                  <a:pt x="390049" y="1100614"/>
                </a:cubicBezTo>
                <a:cubicBezTo>
                  <a:pt x="393859" y="1108234"/>
                  <a:pt x="402431" y="1113949"/>
                  <a:pt x="411004" y="1113949"/>
                </a:cubicBezTo>
                <a:cubicBezTo>
                  <a:pt x="424339" y="1113949"/>
                  <a:pt x="434816" y="1103471"/>
                  <a:pt x="434816" y="1090136"/>
                </a:cubicBezTo>
                <a:cubicBezTo>
                  <a:pt x="434816" y="1087279"/>
                  <a:pt x="433864" y="1085374"/>
                  <a:pt x="433864" y="1083469"/>
                </a:cubicBezTo>
                <a:cubicBezTo>
                  <a:pt x="436721" y="1085374"/>
                  <a:pt x="439579" y="1086326"/>
                  <a:pt x="443389" y="1086326"/>
                </a:cubicBezTo>
                <a:cubicBezTo>
                  <a:pt x="442436" y="1087279"/>
                  <a:pt x="442436" y="1089184"/>
                  <a:pt x="442436" y="1090136"/>
                </a:cubicBezTo>
                <a:cubicBezTo>
                  <a:pt x="442436" y="1093946"/>
                  <a:pt x="446246" y="1097756"/>
                  <a:pt x="450056" y="1097756"/>
                </a:cubicBezTo>
                <a:cubicBezTo>
                  <a:pt x="453866" y="1097756"/>
                  <a:pt x="457676" y="1093946"/>
                  <a:pt x="457676" y="1090136"/>
                </a:cubicBezTo>
                <a:cubicBezTo>
                  <a:pt x="457676" y="1088231"/>
                  <a:pt x="456724" y="1086326"/>
                  <a:pt x="454819" y="1084421"/>
                </a:cubicBezTo>
                <a:cubicBezTo>
                  <a:pt x="459581" y="1082516"/>
                  <a:pt x="463391" y="1078706"/>
                  <a:pt x="466249" y="1073944"/>
                </a:cubicBezTo>
                <a:cubicBezTo>
                  <a:pt x="468154" y="1075849"/>
                  <a:pt x="471011" y="1076801"/>
                  <a:pt x="473869" y="1076801"/>
                </a:cubicBezTo>
                <a:cubicBezTo>
                  <a:pt x="475774" y="1076801"/>
                  <a:pt x="477679" y="1075849"/>
                  <a:pt x="479584" y="1074896"/>
                </a:cubicBezTo>
                <a:cubicBezTo>
                  <a:pt x="479584" y="1074896"/>
                  <a:pt x="480536" y="1074896"/>
                  <a:pt x="480536" y="1075849"/>
                </a:cubicBezTo>
                <a:cubicBezTo>
                  <a:pt x="481489" y="1081564"/>
                  <a:pt x="485299" y="1085374"/>
                  <a:pt x="491014" y="1085374"/>
                </a:cubicBezTo>
                <a:cubicBezTo>
                  <a:pt x="495776" y="1085374"/>
                  <a:pt x="498634" y="1082516"/>
                  <a:pt x="500539" y="1078706"/>
                </a:cubicBezTo>
                <a:cubicBezTo>
                  <a:pt x="502444" y="1078706"/>
                  <a:pt x="504349" y="1077754"/>
                  <a:pt x="505301" y="1077754"/>
                </a:cubicBezTo>
                <a:cubicBezTo>
                  <a:pt x="507206" y="1081564"/>
                  <a:pt x="511016" y="1084421"/>
                  <a:pt x="515779" y="1084421"/>
                </a:cubicBezTo>
                <a:cubicBezTo>
                  <a:pt x="516731" y="1084421"/>
                  <a:pt x="517684" y="1084421"/>
                  <a:pt x="518636" y="1083469"/>
                </a:cubicBezTo>
                <a:cubicBezTo>
                  <a:pt x="519589" y="1084421"/>
                  <a:pt x="520541" y="1085374"/>
                  <a:pt x="521494" y="1087279"/>
                </a:cubicBezTo>
                <a:cubicBezTo>
                  <a:pt x="521494" y="1088231"/>
                  <a:pt x="521494" y="1089184"/>
                  <a:pt x="521494" y="1090136"/>
                </a:cubicBezTo>
                <a:cubicBezTo>
                  <a:pt x="521494" y="1099661"/>
                  <a:pt x="529114" y="1107281"/>
                  <a:pt x="538639" y="1107281"/>
                </a:cubicBezTo>
                <a:cubicBezTo>
                  <a:pt x="542449" y="1107281"/>
                  <a:pt x="546259" y="1105376"/>
                  <a:pt x="549116" y="1103471"/>
                </a:cubicBezTo>
                <a:cubicBezTo>
                  <a:pt x="550069" y="1104424"/>
                  <a:pt x="551974" y="1105376"/>
                  <a:pt x="553879" y="1106329"/>
                </a:cubicBezTo>
                <a:cubicBezTo>
                  <a:pt x="555784" y="1110139"/>
                  <a:pt x="559594" y="1112996"/>
                  <a:pt x="563404" y="1113949"/>
                </a:cubicBezTo>
                <a:cubicBezTo>
                  <a:pt x="561499" y="1114901"/>
                  <a:pt x="560546" y="1116806"/>
                  <a:pt x="559594" y="1118711"/>
                </a:cubicBezTo>
                <a:cubicBezTo>
                  <a:pt x="558641" y="1118711"/>
                  <a:pt x="557689" y="1118711"/>
                  <a:pt x="557689" y="1118711"/>
                </a:cubicBezTo>
                <a:cubicBezTo>
                  <a:pt x="553879" y="1118711"/>
                  <a:pt x="550069" y="1119664"/>
                  <a:pt x="547211" y="1120616"/>
                </a:cubicBezTo>
                <a:cubicBezTo>
                  <a:pt x="546259" y="1119664"/>
                  <a:pt x="544354" y="1118711"/>
                  <a:pt x="542449" y="1118711"/>
                </a:cubicBezTo>
                <a:cubicBezTo>
                  <a:pt x="541496" y="1118711"/>
                  <a:pt x="539591" y="1119664"/>
                  <a:pt x="538639" y="1119664"/>
                </a:cubicBezTo>
                <a:cubicBezTo>
                  <a:pt x="535781" y="1111091"/>
                  <a:pt x="528161" y="1104424"/>
                  <a:pt x="518636" y="1104424"/>
                </a:cubicBezTo>
                <a:cubicBezTo>
                  <a:pt x="511969" y="1093946"/>
                  <a:pt x="499586" y="1087279"/>
                  <a:pt x="486251" y="1087279"/>
                </a:cubicBezTo>
                <a:cubicBezTo>
                  <a:pt x="473869" y="1090136"/>
                  <a:pt x="462439" y="1096804"/>
                  <a:pt x="455771" y="1106329"/>
                </a:cubicBezTo>
                <a:close/>
                <a:moveTo>
                  <a:pt x="483394" y="1196816"/>
                </a:moveTo>
                <a:cubicBezTo>
                  <a:pt x="479584" y="1193959"/>
                  <a:pt x="473869" y="1192054"/>
                  <a:pt x="469106" y="1192054"/>
                </a:cubicBezTo>
                <a:cubicBezTo>
                  <a:pt x="468154" y="1192054"/>
                  <a:pt x="466249" y="1192054"/>
                  <a:pt x="465296" y="1192054"/>
                </a:cubicBezTo>
                <a:cubicBezTo>
                  <a:pt x="464344" y="1191101"/>
                  <a:pt x="463391" y="1190149"/>
                  <a:pt x="462439" y="1189196"/>
                </a:cubicBezTo>
                <a:cubicBezTo>
                  <a:pt x="465296" y="1186339"/>
                  <a:pt x="466249" y="1182529"/>
                  <a:pt x="466249" y="1178719"/>
                </a:cubicBezTo>
                <a:cubicBezTo>
                  <a:pt x="466249" y="1174909"/>
                  <a:pt x="464344" y="1171099"/>
                  <a:pt x="462439" y="1167289"/>
                </a:cubicBezTo>
                <a:cubicBezTo>
                  <a:pt x="462439" y="1167289"/>
                  <a:pt x="462439" y="1167289"/>
                  <a:pt x="462439" y="1167289"/>
                </a:cubicBezTo>
                <a:cubicBezTo>
                  <a:pt x="466249" y="1169194"/>
                  <a:pt x="471011" y="1170146"/>
                  <a:pt x="475774" y="1170146"/>
                </a:cubicBezTo>
                <a:cubicBezTo>
                  <a:pt x="481489" y="1170146"/>
                  <a:pt x="486251" y="1168241"/>
                  <a:pt x="491014" y="1165384"/>
                </a:cubicBezTo>
                <a:cubicBezTo>
                  <a:pt x="494824" y="1165384"/>
                  <a:pt x="498634" y="1164431"/>
                  <a:pt x="502444" y="1162526"/>
                </a:cubicBezTo>
                <a:cubicBezTo>
                  <a:pt x="503396" y="1164431"/>
                  <a:pt x="505301" y="1165384"/>
                  <a:pt x="507206" y="1165384"/>
                </a:cubicBezTo>
                <a:cubicBezTo>
                  <a:pt x="511016" y="1165384"/>
                  <a:pt x="513874" y="1162526"/>
                  <a:pt x="513874" y="1158716"/>
                </a:cubicBezTo>
                <a:cubicBezTo>
                  <a:pt x="513874" y="1157764"/>
                  <a:pt x="513874" y="1156811"/>
                  <a:pt x="512921" y="1155859"/>
                </a:cubicBezTo>
                <a:cubicBezTo>
                  <a:pt x="514826" y="1153954"/>
                  <a:pt x="516731" y="1152049"/>
                  <a:pt x="517684" y="1150144"/>
                </a:cubicBezTo>
                <a:cubicBezTo>
                  <a:pt x="519589" y="1152049"/>
                  <a:pt x="522446" y="1153001"/>
                  <a:pt x="525304" y="1153001"/>
                </a:cubicBezTo>
                <a:cubicBezTo>
                  <a:pt x="526256" y="1153001"/>
                  <a:pt x="527209" y="1153001"/>
                  <a:pt x="528161" y="1152049"/>
                </a:cubicBezTo>
                <a:cubicBezTo>
                  <a:pt x="527209" y="1154906"/>
                  <a:pt x="526256" y="1157764"/>
                  <a:pt x="526256" y="1160621"/>
                </a:cubicBezTo>
                <a:cubicBezTo>
                  <a:pt x="526256" y="1160621"/>
                  <a:pt x="526256" y="1161574"/>
                  <a:pt x="526256" y="1161574"/>
                </a:cubicBezTo>
                <a:cubicBezTo>
                  <a:pt x="521494" y="1166336"/>
                  <a:pt x="517684" y="1171099"/>
                  <a:pt x="514826" y="1177766"/>
                </a:cubicBezTo>
                <a:cubicBezTo>
                  <a:pt x="512921" y="1175861"/>
                  <a:pt x="510064" y="1174909"/>
                  <a:pt x="507206" y="1174909"/>
                </a:cubicBezTo>
                <a:cubicBezTo>
                  <a:pt x="500539" y="1174909"/>
                  <a:pt x="495776" y="1179671"/>
                  <a:pt x="495776" y="1186339"/>
                </a:cubicBezTo>
                <a:cubicBezTo>
                  <a:pt x="495776" y="1188244"/>
                  <a:pt x="496729" y="1190149"/>
                  <a:pt x="497681" y="1192054"/>
                </a:cubicBezTo>
                <a:cubicBezTo>
                  <a:pt x="495776" y="1191101"/>
                  <a:pt x="493871" y="1190149"/>
                  <a:pt x="491966" y="1190149"/>
                </a:cubicBezTo>
                <a:cubicBezTo>
                  <a:pt x="489109" y="1192054"/>
                  <a:pt x="485299" y="1193959"/>
                  <a:pt x="483394" y="1196816"/>
                </a:cubicBezTo>
                <a:close/>
                <a:moveTo>
                  <a:pt x="507206" y="1716881"/>
                </a:moveTo>
                <a:cubicBezTo>
                  <a:pt x="507206" y="1715929"/>
                  <a:pt x="506254" y="1715929"/>
                  <a:pt x="506254" y="1714976"/>
                </a:cubicBezTo>
                <a:cubicBezTo>
                  <a:pt x="507206" y="1714976"/>
                  <a:pt x="507206" y="1714976"/>
                  <a:pt x="508159" y="1714976"/>
                </a:cubicBezTo>
                <a:cubicBezTo>
                  <a:pt x="509111" y="1714976"/>
                  <a:pt x="509111" y="1714976"/>
                  <a:pt x="510064" y="1714976"/>
                </a:cubicBezTo>
                <a:cubicBezTo>
                  <a:pt x="510064" y="1714976"/>
                  <a:pt x="510064" y="1714976"/>
                  <a:pt x="510064" y="1714976"/>
                </a:cubicBezTo>
                <a:cubicBezTo>
                  <a:pt x="508159" y="1714976"/>
                  <a:pt x="507206" y="1715929"/>
                  <a:pt x="507206" y="1716881"/>
                </a:cubicBezTo>
                <a:close/>
              </a:path>
            </a:pathLst>
          </a:custGeom>
          <a:solidFill>
            <a:srgbClr val="86ADDB"/>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1310287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ntents slide layout">
    <p:bg>
      <p:bgPr>
        <a:solidFill>
          <a:schemeClr val="bg1"/>
        </a:solidFill>
        <a:effectLst/>
      </p:bgPr>
    </p:bg>
    <p:spTree>
      <p:nvGrpSpPr>
        <p:cNvPr id="1" name=""/>
        <p:cNvGrpSpPr/>
        <p:nvPr/>
      </p:nvGrpSpPr>
      <p:grpSpPr>
        <a:xfrm>
          <a:off x="0" y="0"/>
          <a:ext cx="0" cy="0"/>
          <a:chOff x="0" y="0"/>
          <a:chExt cx="0" cy="0"/>
        </a:xfrm>
      </p:grpSpPr>
      <p:sp>
        <p:nvSpPr>
          <p:cNvPr id="4" name="그림 개체 틀 2">
            <a:extLst>
              <a:ext uri="{FF2B5EF4-FFF2-40B4-BE49-F238E27FC236}">
                <a16:creationId xmlns:a16="http://schemas.microsoft.com/office/drawing/2014/main" id="{6BEAFC25-821F-477D-B4DA-EF0E26AE0841}"/>
              </a:ext>
            </a:extLst>
          </p:cNvPr>
          <p:cNvSpPr>
            <a:spLocks noGrp="1"/>
          </p:cNvSpPr>
          <p:nvPr>
            <p:ph type="pic" sz="quarter" idx="10" hasCustomPrompt="1"/>
          </p:nvPr>
        </p:nvSpPr>
        <p:spPr>
          <a:xfrm>
            <a:off x="0" y="0"/>
            <a:ext cx="12192000" cy="2664000"/>
          </a:xfrm>
          <a:prstGeom prst="rect">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t to Back</a:t>
            </a:r>
            <a:endParaRPr lang="ko-KR" altLang="en-US" dirty="0"/>
          </a:p>
        </p:txBody>
      </p:sp>
      <p:sp>
        <p:nvSpPr>
          <p:cNvPr id="6" name="그림 개체 틀 2">
            <a:extLst>
              <a:ext uri="{FF2B5EF4-FFF2-40B4-BE49-F238E27FC236}">
                <a16:creationId xmlns:a16="http://schemas.microsoft.com/office/drawing/2014/main" id="{2C30C39C-AAA9-4761-B982-E964F936EA3C}"/>
              </a:ext>
            </a:extLst>
          </p:cNvPr>
          <p:cNvSpPr>
            <a:spLocks noGrp="1"/>
          </p:cNvSpPr>
          <p:nvPr>
            <p:ph type="pic" sz="quarter" idx="42" hasCustomPrompt="1"/>
          </p:nvPr>
        </p:nvSpPr>
        <p:spPr>
          <a:xfrm>
            <a:off x="1032695" y="1988366"/>
            <a:ext cx="2444297" cy="2444297"/>
          </a:xfrm>
          <a:prstGeom prst="ellipse">
            <a:avLst/>
          </a:prstGeom>
          <a:solidFill>
            <a:schemeClr val="bg1">
              <a:lumMod val="95000"/>
            </a:schemeClr>
          </a:solidFill>
          <a:ln w="15875">
            <a:noFill/>
          </a:ln>
          <a:effectLst>
            <a:innerShdw blurRad="114300">
              <a:schemeClr val="bg1"/>
            </a:innerShdw>
          </a:effectLst>
        </p:spPr>
        <p:txBody>
          <a:bodyPr anchor="ctr"/>
          <a:lstStyle>
            <a:lvl1pPr marL="0" indent="0" algn="ctr">
              <a:buNone/>
              <a:defRPr sz="1200">
                <a:solidFill>
                  <a:schemeClr val="tx1">
                    <a:lumMod val="75000"/>
                    <a:lumOff val="25000"/>
                  </a:schemeClr>
                </a:solidFill>
              </a:defRPr>
            </a:lvl1pPr>
          </a:lstStyle>
          <a:p>
            <a:r>
              <a:rPr lang="en-US" altLang="ko-KR" dirty="0"/>
              <a:t>Place Your Picture Here and Bring to Front</a:t>
            </a:r>
            <a:endParaRPr lang="ko-KR" altLang="en-US" dirty="0"/>
          </a:p>
        </p:txBody>
      </p:sp>
    </p:spTree>
    <p:extLst>
      <p:ext uri="{BB962C8B-B14F-4D97-AF65-F5344CB8AC3E}">
        <p14:creationId xmlns:p14="http://schemas.microsoft.com/office/powerpoint/2010/main" val="26322183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ontents slide layout">
    <p:bg>
      <p:bgPr>
        <a:solidFill>
          <a:schemeClr val="bg1"/>
        </a:solidFill>
        <a:effectLst/>
      </p:bgPr>
    </p:bg>
    <p:spTree>
      <p:nvGrpSpPr>
        <p:cNvPr id="1" name=""/>
        <p:cNvGrpSpPr/>
        <p:nvPr/>
      </p:nvGrpSpPr>
      <p:grpSpPr>
        <a:xfrm>
          <a:off x="0" y="0"/>
          <a:ext cx="0" cy="0"/>
          <a:chOff x="0" y="0"/>
          <a:chExt cx="0" cy="0"/>
        </a:xfrm>
      </p:grpSpPr>
      <p:sp>
        <p:nvSpPr>
          <p:cNvPr id="4" name="그림 개체 틀 2">
            <a:extLst>
              <a:ext uri="{FF2B5EF4-FFF2-40B4-BE49-F238E27FC236}">
                <a16:creationId xmlns:a16="http://schemas.microsoft.com/office/drawing/2014/main" id="{6BEAFC25-821F-477D-B4DA-EF0E26AE0841}"/>
              </a:ext>
            </a:extLst>
          </p:cNvPr>
          <p:cNvSpPr>
            <a:spLocks noGrp="1"/>
          </p:cNvSpPr>
          <p:nvPr>
            <p:ph type="pic" sz="quarter" idx="10" hasCustomPrompt="1"/>
          </p:nvPr>
        </p:nvSpPr>
        <p:spPr>
          <a:xfrm>
            <a:off x="0" y="0"/>
            <a:ext cx="12192000" cy="6858000"/>
          </a:xfrm>
          <a:prstGeom prst="rect">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t to Back</a:t>
            </a:r>
            <a:endParaRPr lang="ko-KR" altLang="en-US" dirty="0"/>
          </a:p>
        </p:txBody>
      </p:sp>
    </p:spTree>
    <p:extLst>
      <p:ext uri="{BB962C8B-B14F-4D97-AF65-F5344CB8AC3E}">
        <p14:creationId xmlns:p14="http://schemas.microsoft.com/office/powerpoint/2010/main" val="2334304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ontents slide layout">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3073D1A-A4A7-4F5B-BE54-63CEAB575F6A}"/>
              </a:ext>
            </a:extLst>
          </p:cNvPr>
          <p:cNvSpPr>
            <a:spLocks noGrp="1"/>
          </p:cNvSpPr>
          <p:nvPr>
            <p:ph type="pic" sz="quarter" idx="10" hasCustomPrompt="1"/>
          </p:nvPr>
        </p:nvSpPr>
        <p:spPr>
          <a:xfrm>
            <a:off x="7266709" y="529965"/>
            <a:ext cx="4925290" cy="5798070"/>
          </a:xfrm>
          <a:custGeom>
            <a:avLst/>
            <a:gdLst>
              <a:gd name="connsiteX0" fmla="*/ 857449 w 4925290"/>
              <a:gd name="connsiteY0" fmla="*/ 0 h 5798070"/>
              <a:gd name="connsiteX1" fmla="*/ 4214649 w 4925290"/>
              <a:gd name="connsiteY1" fmla="*/ 0 h 5798070"/>
              <a:gd name="connsiteX2" fmla="*/ 4925290 w 4925290"/>
              <a:gd name="connsiteY2" fmla="*/ 1223176 h 5798070"/>
              <a:gd name="connsiteX3" fmla="*/ 4925290 w 4925290"/>
              <a:gd name="connsiteY3" fmla="*/ 4574894 h 5798070"/>
              <a:gd name="connsiteX4" fmla="*/ 4214649 w 4925290"/>
              <a:gd name="connsiteY4" fmla="*/ 5798070 h 5798070"/>
              <a:gd name="connsiteX5" fmla="*/ 857449 w 4925290"/>
              <a:gd name="connsiteY5" fmla="*/ 5798070 h 5798070"/>
              <a:gd name="connsiteX6" fmla="*/ 0 w 4925290"/>
              <a:gd name="connsiteY6" fmla="*/ 4322202 h 5798070"/>
              <a:gd name="connsiteX7" fmla="*/ 2152428 w 4925290"/>
              <a:gd name="connsiteY7" fmla="*/ 4322202 h 5798070"/>
              <a:gd name="connsiteX8" fmla="*/ 2979260 w 4925290"/>
              <a:gd name="connsiteY8" fmla="*/ 2899035 h 5798070"/>
              <a:gd name="connsiteX9" fmla="*/ 2152428 w 4925290"/>
              <a:gd name="connsiteY9" fmla="*/ 1475868 h 5798070"/>
              <a:gd name="connsiteX10" fmla="*/ 0 w 4925290"/>
              <a:gd name="connsiteY10" fmla="*/ 1475868 h 579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5290" h="5798070">
                <a:moveTo>
                  <a:pt x="857449" y="0"/>
                </a:moveTo>
                <a:lnTo>
                  <a:pt x="4214649" y="0"/>
                </a:lnTo>
                <a:lnTo>
                  <a:pt x="4925290" y="1223176"/>
                </a:lnTo>
                <a:lnTo>
                  <a:pt x="4925290" y="4574894"/>
                </a:lnTo>
                <a:lnTo>
                  <a:pt x="4214649" y="5798070"/>
                </a:lnTo>
                <a:lnTo>
                  <a:pt x="857449" y="5798070"/>
                </a:lnTo>
                <a:lnTo>
                  <a:pt x="0" y="4322202"/>
                </a:lnTo>
                <a:lnTo>
                  <a:pt x="2152428" y="4322202"/>
                </a:lnTo>
                <a:lnTo>
                  <a:pt x="2979260" y="2899035"/>
                </a:lnTo>
                <a:lnTo>
                  <a:pt x="2152428" y="1475868"/>
                </a:lnTo>
                <a:lnTo>
                  <a:pt x="0" y="1475868"/>
                </a:lnTo>
                <a:close/>
              </a:path>
            </a:pathLst>
          </a:custGeom>
          <a:solidFill>
            <a:schemeClr val="bg1">
              <a:lumMod val="95000"/>
            </a:schemeClr>
          </a:solidFill>
          <a:ln w="152400">
            <a:noFill/>
          </a:ln>
          <a:effectLst/>
        </p:spPr>
        <p:txBody>
          <a:bodyPr wrap="square" anchor="ctr">
            <a:noAutofit/>
          </a:bodyP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13" name="Picture Placeholder 12">
            <a:extLst>
              <a:ext uri="{FF2B5EF4-FFF2-40B4-BE49-F238E27FC236}">
                <a16:creationId xmlns:a16="http://schemas.microsoft.com/office/drawing/2014/main" id="{8CF70162-E0C4-4E2A-B2CE-73A493476724}"/>
              </a:ext>
            </a:extLst>
          </p:cNvPr>
          <p:cNvSpPr>
            <a:spLocks noGrp="1"/>
          </p:cNvSpPr>
          <p:nvPr>
            <p:ph type="pic" sz="quarter" idx="11" hasCustomPrompt="1"/>
          </p:nvPr>
        </p:nvSpPr>
        <p:spPr>
          <a:xfrm>
            <a:off x="4525108" y="2105085"/>
            <a:ext cx="4925290" cy="2647831"/>
          </a:xfrm>
          <a:custGeom>
            <a:avLst/>
            <a:gdLst>
              <a:gd name="connsiteX0" fmla="*/ 769169 w 6213231"/>
              <a:gd name="connsiteY0" fmla="*/ 0 h 2647831"/>
              <a:gd name="connsiteX1" fmla="*/ 5444062 w 6213231"/>
              <a:gd name="connsiteY1" fmla="*/ 0 h 2647831"/>
              <a:gd name="connsiteX2" fmla="*/ 6213231 w 6213231"/>
              <a:gd name="connsiteY2" fmla="*/ 1323916 h 2647831"/>
              <a:gd name="connsiteX3" fmla="*/ 5444062 w 6213231"/>
              <a:gd name="connsiteY3" fmla="*/ 2647831 h 2647831"/>
              <a:gd name="connsiteX4" fmla="*/ 769169 w 6213231"/>
              <a:gd name="connsiteY4" fmla="*/ 2647831 h 2647831"/>
              <a:gd name="connsiteX5" fmla="*/ 0 w 6213231"/>
              <a:gd name="connsiteY5" fmla="*/ 1323916 h 264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3231" h="2647831">
                <a:moveTo>
                  <a:pt x="769169" y="0"/>
                </a:moveTo>
                <a:lnTo>
                  <a:pt x="5444062" y="0"/>
                </a:lnTo>
                <a:lnTo>
                  <a:pt x="6213231" y="1323916"/>
                </a:lnTo>
                <a:lnTo>
                  <a:pt x="5444062" y="2647831"/>
                </a:lnTo>
                <a:lnTo>
                  <a:pt x="769169" y="2647831"/>
                </a:lnTo>
                <a:lnTo>
                  <a:pt x="0" y="1323916"/>
                </a:lnTo>
                <a:close/>
              </a:path>
            </a:pathLst>
          </a:custGeom>
          <a:solidFill>
            <a:schemeClr val="bg1">
              <a:lumMod val="95000"/>
            </a:schemeClr>
          </a:solidFill>
          <a:ln w="152400">
            <a:noFill/>
          </a:ln>
          <a:effectLst/>
        </p:spPr>
        <p:txBody>
          <a:bodyPr wrap="square" anchor="ctr">
            <a:noAutofit/>
          </a:bodyP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484768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solidFill>
          <a:schemeClr val="bg1"/>
        </a:solidFill>
        <a:effectLst/>
      </p:bgPr>
    </p:bg>
    <p:spTree>
      <p:nvGrpSpPr>
        <p:cNvPr id="1" name=""/>
        <p:cNvGrpSpPr/>
        <p:nvPr/>
      </p:nvGrpSpPr>
      <p:grpSpPr>
        <a:xfrm>
          <a:off x="0" y="0"/>
          <a:ext cx="0" cy="0"/>
          <a:chOff x="0" y="0"/>
          <a:chExt cx="0" cy="0"/>
        </a:xfrm>
      </p:grpSpPr>
      <p:sp>
        <p:nvSpPr>
          <p:cNvPr id="4" name="그림 개체 틀 2">
            <a:extLst>
              <a:ext uri="{FF2B5EF4-FFF2-40B4-BE49-F238E27FC236}">
                <a16:creationId xmlns:a16="http://schemas.microsoft.com/office/drawing/2014/main" id="{6BEAFC25-821F-477D-B4DA-EF0E26AE0841}"/>
              </a:ext>
            </a:extLst>
          </p:cNvPr>
          <p:cNvSpPr>
            <a:spLocks noGrp="1"/>
          </p:cNvSpPr>
          <p:nvPr>
            <p:ph type="pic" sz="quarter" idx="10" hasCustomPrompt="1"/>
          </p:nvPr>
        </p:nvSpPr>
        <p:spPr>
          <a:xfrm>
            <a:off x="1160586" y="0"/>
            <a:ext cx="4853352" cy="6858000"/>
          </a:xfrm>
          <a:prstGeom prst="rect">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t to Back</a:t>
            </a:r>
            <a:endParaRPr lang="ko-KR" altLang="en-US" dirty="0"/>
          </a:p>
        </p:txBody>
      </p:sp>
    </p:spTree>
    <p:extLst>
      <p:ext uri="{BB962C8B-B14F-4D97-AF65-F5344CB8AC3E}">
        <p14:creationId xmlns:p14="http://schemas.microsoft.com/office/powerpoint/2010/main" val="15329724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ontents slide layout">
    <p:bg>
      <p:bgPr>
        <a:solidFill>
          <a:schemeClr val="bg1"/>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21AEC72C-3C89-4B08-B67E-E04E47BA302D}"/>
              </a:ext>
            </a:extLst>
          </p:cNvPr>
          <p:cNvSpPr>
            <a:spLocks noGrp="1"/>
          </p:cNvSpPr>
          <p:nvPr>
            <p:ph type="pic" sz="quarter" idx="10" hasCustomPrompt="1"/>
          </p:nvPr>
        </p:nvSpPr>
        <p:spPr>
          <a:xfrm>
            <a:off x="5847486" y="342900"/>
            <a:ext cx="5926499" cy="6172200"/>
          </a:xfrm>
          <a:custGeom>
            <a:avLst/>
            <a:gdLst>
              <a:gd name="connsiteX0" fmla="*/ 1240972 w 5926499"/>
              <a:gd name="connsiteY0" fmla="*/ 0 h 6172200"/>
              <a:gd name="connsiteX1" fmla="*/ 5926499 w 5926499"/>
              <a:gd name="connsiteY1" fmla="*/ 0 h 6172200"/>
              <a:gd name="connsiteX2" fmla="*/ 5926499 w 5926499"/>
              <a:gd name="connsiteY2" fmla="*/ 6172200 h 6172200"/>
              <a:gd name="connsiteX3" fmla="*/ 1240972 w 5926499"/>
              <a:gd name="connsiteY3" fmla="*/ 6172200 h 6172200"/>
              <a:gd name="connsiteX4" fmla="*/ 1240972 w 5926499"/>
              <a:gd name="connsiteY4" fmla="*/ 6015988 h 6172200"/>
              <a:gd name="connsiteX5" fmla="*/ 92399 w 5926499"/>
              <a:gd name="connsiteY5" fmla="*/ 6015988 h 6172200"/>
              <a:gd name="connsiteX6" fmla="*/ 92399 w 5926499"/>
              <a:gd name="connsiteY6" fmla="*/ 5938701 h 6172200"/>
              <a:gd name="connsiteX7" fmla="*/ 1240972 w 5926499"/>
              <a:gd name="connsiteY7" fmla="*/ 5938701 h 6172200"/>
              <a:gd name="connsiteX8" fmla="*/ 1240972 w 5926499"/>
              <a:gd name="connsiteY8" fmla="*/ 5859778 h 6172200"/>
              <a:gd name="connsiteX9" fmla="*/ 497028 w 5926499"/>
              <a:gd name="connsiteY9" fmla="*/ 5859778 h 6172200"/>
              <a:gd name="connsiteX10" fmla="*/ 497028 w 5926499"/>
              <a:gd name="connsiteY10" fmla="*/ 5668190 h 6172200"/>
              <a:gd name="connsiteX11" fmla="*/ 1240972 w 5926499"/>
              <a:gd name="connsiteY11" fmla="*/ 5668190 h 6172200"/>
              <a:gd name="connsiteX12" fmla="*/ 1240972 w 5926499"/>
              <a:gd name="connsiteY12" fmla="*/ 5589267 h 6172200"/>
              <a:gd name="connsiteX13" fmla="*/ 2775704 w 5926499"/>
              <a:gd name="connsiteY13" fmla="*/ 5589267 h 6172200"/>
              <a:gd name="connsiteX14" fmla="*/ 2775704 w 5926499"/>
              <a:gd name="connsiteY14" fmla="*/ 5511980 h 6172200"/>
              <a:gd name="connsiteX15" fmla="*/ 1240972 w 5926499"/>
              <a:gd name="connsiteY15" fmla="*/ 5511980 h 6172200"/>
              <a:gd name="connsiteX16" fmla="*/ 1240972 w 5926499"/>
              <a:gd name="connsiteY16" fmla="*/ 5222694 h 6172200"/>
              <a:gd name="connsiteX17" fmla="*/ 2993421 w 5926499"/>
              <a:gd name="connsiteY17" fmla="*/ 5222694 h 6172200"/>
              <a:gd name="connsiteX18" fmla="*/ 2993421 w 5926499"/>
              <a:gd name="connsiteY18" fmla="*/ 5031107 h 6172200"/>
              <a:gd name="connsiteX19" fmla="*/ 1240972 w 5926499"/>
              <a:gd name="connsiteY19" fmla="*/ 5031107 h 6172200"/>
              <a:gd name="connsiteX20" fmla="*/ 1240972 w 5926499"/>
              <a:gd name="connsiteY20" fmla="*/ 4922382 h 6172200"/>
              <a:gd name="connsiteX21" fmla="*/ 225578 w 5926499"/>
              <a:gd name="connsiteY21" fmla="*/ 4922382 h 6172200"/>
              <a:gd name="connsiteX22" fmla="*/ 225578 w 5926499"/>
              <a:gd name="connsiteY22" fmla="*/ 4845095 h 6172200"/>
              <a:gd name="connsiteX23" fmla="*/ 1240972 w 5926499"/>
              <a:gd name="connsiteY23" fmla="*/ 4845095 h 6172200"/>
              <a:gd name="connsiteX24" fmla="*/ 1240972 w 5926499"/>
              <a:gd name="connsiteY24" fmla="*/ 4721133 h 6172200"/>
              <a:gd name="connsiteX25" fmla="*/ 2181818 w 5926499"/>
              <a:gd name="connsiteY25" fmla="*/ 4721133 h 6172200"/>
              <a:gd name="connsiteX26" fmla="*/ 2181818 w 5926499"/>
              <a:gd name="connsiteY26" fmla="*/ 4655818 h 6172200"/>
              <a:gd name="connsiteX27" fmla="*/ 1240972 w 5926499"/>
              <a:gd name="connsiteY27" fmla="*/ 4655818 h 6172200"/>
              <a:gd name="connsiteX28" fmla="*/ 1240972 w 5926499"/>
              <a:gd name="connsiteY28" fmla="*/ 4516481 h 6172200"/>
              <a:gd name="connsiteX29" fmla="*/ 497028 w 5926499"/>
              <a:gd name="connsiteY29" fmla="*/ 4516481 h 6172200"/>
              <a:gd name="connsiteX30" fmla="*/ 497028 w 5926499"/>
              <a:gd name="connsiteY30" fmla="*/ 4439194 h 6172200"/>
              <a:gd name="connsiteX31" fmla="*/ 1240972 w 5926499"/>
              <a:gd name="connsiteY31" fmla="*/ 4439194 h 6172200"/>
              <a:gd name="connsiteX32" fmla="*/ 1240972 w 5926499"/>
              <a:gd name="connsiteY32" fmla="*/ 4321628 h 6172200"/>
              <a:gd name="connsiteX33" fmla="*/ 2347278 w 5926499"/>
              <a:gd name="connsiteY33" fmla="*/ 4321628 h 6172200"/>
              <a:gd name="connsiteX34" fmla="*/ 2347278 w 5926499"/>
              <a:gd name="connsiteY34" fmla="*/ 4130040 h 6172200"/>
              <a:gd name="connsiteX35" fmla="*/ 1240972 w 5926499"/>
              <a:gd name="connsiteY35" fmla="*/ 4130040 h 6172200"/>
              <a:gd name="connsiteX36" fmla="*/ 1240972 w 5926499"/>
              <a:gd name="connsiteY36" fmla="*/ 3828776 h 6172200"/>
              <a:gd name="connsiteX37" fmla="*/ 2347278 w 5926499"/>
              <a:gd name="connsiteY37" fmla="*/ 3828776 h 6172200"/>
              <a:gd name="connsiteX38" fmla="*/ 2347278 w 5926499"/>
              <a:gd name="connsiteY38" fmla="*/ 3751489 h 6172200"/>
              <a:gd name="connsiteX39" fmla="*/ 1240972 w 5926499"/>
              <a:gd name="connsiteY39" fmla="*/ 3751489 h 6172200"/>
              <a:gd name="connsiteX40" fmla="*/ 1240972 w 5926499"/>
              <a:gd name="connsiteY40" fmla="*/ 3567249 h 6172200"/>
              <a:gd name="connsiteX41" fmla="*/ 544605 w 5926499"/>
              <a:gd name="connsiteY41" fmla="*/ 3567249 h 6172200"/>
              <a:gd name="connsiteX42" fmla="*/ 544605 w 5926499"/>
              <a:gd name="connsiteY42" fmla="*/ 3279866 h 6172200"/>
              <a:gd name="connsiteX43" fmla="*/ 1240972 w 5926499"/>
              <a:gd name="connsiteY43" fmla="*/ 3279866 h 6172200"/>
              <a:gd name="connsiteX44" fmla="*/ 1240972 w 5926499"/>
              <a:gd name="connsiteY44" fmla="*/ 3141069 h 6172200"/>
              <a:gd name="connsiteX45" fmla="*/ 0 w 5926499"/>
              <a:gd name="connsiteY45" fmla="*/ 3141069 h 6172200"/>
              <a:gd name="connsiteX46" fmla="*/ 0 w 5926499"/>
              <a:gd name="connsiteY46" fmla="*/ 3063782 h 6172200"/>
              <a:gd name="connsiteX47" fmla="*/ 1240972 w 5926499"/>
              <a:gd name="connsiteY47" fmla="*/ 3063782 h 6172200"/>
              <a:gd name="connsiteX48" fmla="*/ 1240972 w 5926499"/>
              <a:gd name="connsiteY48" fmla="*/ 2942953 h 6172200"/>
              <a:gd name="connsiteX49" fmla="*/ 343464 w 5926499"/>
              <a:gd name="connsiteY49" fmla="*/ 2942953 h 6172200"/>
              <a:gd name="connsiteX50" fmla="*/ 343464 w 5926499"/>
              <a:gd name="connsiteY50" fmla="*/ 2865666 h 6172200"/>
              <a:gd name="connsiteX51" fmla="*/ 1240972 w 5926499"/>
              <a:gd name="connsiteY51" fmla="*/ 2865666 h 6172200"/>
              <a:gd name="connsiteX52" fmla="*/ 1240972 w 5926499"/>
              <a:gd name="connsiteY52" fmla="*/ 2770414 h 6172200"/>
              <a:gd name="connsiteX53" fmla="*/ 2020709 w 5926499"/>
              <a:gd name="connsiteY53" fmla="*/ 2770414 h 6172200"/>
              <a:gd name="connsiteX54" fmla="*/ 2020709 w 5926499"/>
              <a:gd name="connsiteY54" fmla="*/ 2705099 h 6172200"/>
              <a:gd name="connsiteX55" fmla="*/ 1240972 w 5926499"/>
              <a:gd name="connsiteY55" fmla="*/ 2705099 h 6172200"/>
              <a:gd name="connsiteX56" fmla="*/ 1240972 w 5926499"/>
              <a:gd name="connsiteY56" fmla="*/ 2453364 h 6172200"/>
              <a:gd name="connsiteX57" fmla="*/ 2113162 w 5926499"/>
              <a:gd name="connsiteY57" fmla="*/ 2453364 h 6172200"/>
              <a:gd name="connsiteX58" fmla="*/ 2113162 w 5926499"/>
              <a:gd name="connsiteY58" fmla="*/ 2261777 h 6172200"/>
              <a:gd name="connsiteX59" fmla="*/ 1240972 w 5926499"/>
              <a:gd name="connsiteY59" fmla="*/ 2261777 h 6172200"/>
              <a:gd name="connsiteX60" fmla="*/ 1240972 w 5926499"/>
              <a:gd name="connsiteY60" fmla="*/ 2065018 h 6172200"/>
              <a:gd name="connsiteX61" fmla="*/ 544605 w 5926499"/>
              <a:gd name="connsiteY61" fmla="*/ 2065018 h 6172200"/>
              <a:gd name="connsiteX62" fmla="*/ 544605 w 5926499"/>
              <a:gd name="connsiteY62" fmla="*/ 1999703 h 6172200"/>
              <a:gd name="connsiteX63" fmla="*/ 1240972 w 5926499"/>
              <a:gd name="connsiteY63" fmla="*/ 1999703 h 6172200"/>
              <a:gd name="connsiteX64" fmla="*/ 1240972 w 5926499"/>
              <a:gd name="connsiteY64" fmla="*/ 1794507 h 6172200"/>
              <a:gd name="connsiteX65" fmla="*/ 2587402 w 5926499"/>
              <a:gd name="connsiteY65" fmla="*/ 1794507 h 6172200"/>
              <a:gd name="connsiteX66" fmla="*/ 2587402 w 5926499"/>
              <a:gd name="connsiteY66" fmla="*/ 1717220 h 6172200"/>
              <a:gd name="connsiteX67" fmla="*/ 1240972 w 5926499"/>
              <a:gd name="connsiteY67" fmla="*/ 1717220 h 6172200"/>
              <a:gd name="connsiteX68" fmla="*/ 1240972 w 5926499"/>
              <a:gd name="connsiteY68" fmla="*/ 1582782 h 6172200"/>
              <a:gd name="connsiteX69" fmla="*/ 191589 w 5926499"/>
              <a:gd name="connsiteY69" fmla="*/ 1582782 h 6172200"/>
              <a:gd name="connsiteX70" fmla="*/ 191589 w 5926499"/>
              <a:gd name="connsiteY70" fmla="*/ 1391193 h 6172200"/>
              <a:gd name="connsiteX71" fmla="*/ 1240972 w 5926499"/>
              <a:gd name="connsiteY71" fmla="*/ 1391193 h 6172200"/>
              <a:gd name="connsiteX72" fmla="*/ 1240972 w 5926499"/>
              <a:gd name="connsiteY72" fmla="*/ 1256756 h 6172200"/>
              <a:gd name="connsiteX73" fmla="*/ 2981203 w 5926499"/>
              <a:gd name="connsiteY73" fmla="*/ 1256756 h 6172200"/>
              <a:gd name="connsiteX74" fmla="*/ 2981203 w 5926499"/>
              <a:gd name="connsiteY74" fmla="*/ 1179469 h 6172200"/>
              <a:gd name="connsiteX75" fmla="*/ 1240972 w 5926499"/>
              <a:gd name="connsiteY75" fmla="*/ 1179469 h 6172200"/>
              <a:gd name="connsiteX76" fmla="*/ 1240972 w 5926499"/>
              <a:gd name="connsiteY76" fmla="*/ 1024346 h 6172200"/>
              <a:gd name="connsiteX77" fmla="*/ 2051188 w 5926499"/>
              <a:gd name="connsiteY77" fmla="*/ 1024346 h 6172200"/>
              <a:gd name="connsiteX78" fmla="*/ 2051188 w 5926499"/>
              <a:gd name="connsiteY78" fmla="*/ 828402 h 6172200"/>
              <a:gd name="connsiteX79" fmla="*/ 1240972 w 5926499"/>
              <a:gd name="connsiteY79" fmla="*/ 828402 h 6172200"/>
              <a:gd name="connsiteX80" fmla="*/ 1240972 w 5926499"/>
              <a:gd name="connsiteY80" fmla="*/ 695597 h 6172200"/>
              <a:gd name="connsiteX81" fmla="*/ 579440 w 5926499"/>
              <a:gd name="connsiteY81" fmla="*/ 695597 h 6172200"/>
              <a:gd name="connsiteX82" fmla="*/ 579440 w 5926499"/>
              <a:gd name="connsiteY82" fmla="*/ 504009 h 6172200"/>
              <a:gd name="connsiteX83" fmla="*/ 1240972 w 5926499"/>
              <a:gd name="connsiteY83" fmla="*/ 504009 h 6172200"/>
              <a:gd name="connsiteX84" fmla="*/ 1240972 w 5926499"/>
              <a:gd name="connsiteY84" fmla="*/ 447943 h 6172200"/>
              <a:gd name="connsiteX85" fmla="*/ 977276 w 5926499"/>
              <a:gd name="connsiteY85" fmla="*/ 447943 h 6172200"/>
              <a:gd name="connsiteX86" fmla="*/ 977276 w 5926499"/>
              <a:gd name="connsiteY86" fmla="*/ 370656 h 6172200"/>
              <a:gd name="connsiteX87" fmla="*/ 1240972 w 5926499"/>
              <a:gd name="connsiteY87" fmla="*/ 370656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926499" h="6172200">
                <a:moveTo>
                  <a:pt x="1240972" y="0"/>
                </a:moveTo>
                <a:lnTo>
                  <a:pt x="5926499" y="0"/>
                </a:lnTo>
                <a:lnTo>
                  <a:pt x="5926499" y="6172200"/>
                </a:lnTo>
                <a:lnTo>
                  <a:pt x="1240972" y="6172200"/>
                </a:lnTo>
                <a:lnTo>
                  <a:pt x="1240972" y="6015988"/>
                </a:lnTo>
                <a:lnTo>
                  <a:pt x="92399" y="6015988"/>
                </a:lnTo>
                <a:lnTo>
                  <a:pt x="92399" y="5938701"/>
                </a:lnTo>
                <a:lnTo>
                  <a:pt x="1240972" y="5938701"/>
                </a:lnTo>
                <a:lnTo>
                  <a:pt x="1240972" y="5859778"/>
                </a:lnTo>
                <a:lnTo>
                  <a:pt x="497028" y="5859778"/>
                </a:lnTo>
                <a:lnTo>
                  <a:pt x="497028" y="5668190"/>
                </a:lnTo>
                <a:lnTo>
                  <a:pt x="1240972" y="5668190"/>
                </a:lnTo>
                <a:lnTo>
                  <a:pt x="1240972" y="5589267"/>
                </a:lnTo>
                <a:lnTo>
                  <a:pt x="2775704" y="5589267"/>
                </a:lnTo>
                <a:lnTo>
                  <a:pt x="2775704" y="5511980"/>
                </a:lnTo>
                <a:lnTo>
                  <a:pt x="1240972" y="5511980"/>
                </a:lnTo>
                <a:lnTo>
                  <a:pt x="1240972" y="5222694"/>
                </a:lnTo>
                <a:lnTo>
                  <a:pt x="2993421" y="5222694"/>
                </a:lnTo>
                <a:lnTo>
                  <a:pt x="2993421" y="5031107"/>
                </a:lnTo>
                <a:lnTo>
                  <a:pt x="1240972" y="5031107"/>
                </a:lnTo>
                <a:lnTo>
                  <a:pt x="1240972" y="4922382"/>
                </a:lnTo>
                <a:lnTo>
                  <a:pt x="225578" y="4922382"/>
                </a:lnTo>
                <a:lnTo>
                  <a:pt x="225578" y="4845095"/>
                </a:lnTo>
                <a:lnTo>
                  <a:pt x="1240972" y="4845095"/>
                </a:lnTo>
                <a:lnTo>
                  <a:pt x="1240972" y="4721133"/>
                </a:lnTo>
                <a:lnTo>
                  <a:pt x="2181818" y="4721133"/>
                </a:lnTo>
                <a:lnTo>
                  <a:pt x="2181818" y="4655818"/>
                </a:lnTo>
                <a:lnTo>
                  <a:pt x="1240972" y="4655818"/>
                </a:lnTo>
                <a:lnTo>
                  <a:pt x="1240972" y="4516481"/>
                </a:lnTo>
                <a:lnTo>
                  <a:pt x="497028" y="4516481"/>
                </a:lnTo>
                <a:lnTo>
                  <a:pt x="497028" y="4439194"/>
                </a:lnTo>
                <a:lnTo>
                  <a:pt x="1240972" y="4439194"/>
                </a:lnTo>
                <a:lnTo>
                  <a:pt x="1240972" y="4321628"/>
                </a:lnTo>
                <a:lnTo>
                  <a:pt x="2347278" y="4321628"/>
                </a:lnTo>
                <a:lnTo>
                  <a:pt x="2347278" y="4130040"/>
                </a:lnTo>
                <a:lnTo>
                  <a:pt x="1240972" y="4130040"/>
                </a:lnTo>
                <a:lnTo>
                  <a:pt x="1240972" y="3828776"/>
                </a:lnTo>
                <a:lnTo>
                  <a:pt x="2347278" y="3828776"/>
                </a:lnTo>
                <a:lnTo>
                  <a:pt x="2347278" y="3751489"/>
                </a:lnTo>
                <a:lnTo>
                  <a:pt x="1240972" y="3751489"/>
                </a:lnTo>
                <a:lnTo>
                  <a:pt x="1240972" y="3567249"/>
                </a:lnTo>
                <a:lnTo>
                  <a:pt x="544605" y="3567249"/>
                </a:lnTo>
                <a:lnTo>
                  <a:pt x="544605" y="3279866"/>
                </a:lnTo>
                <a:lnTo>
                  <a:pt x="1240972" y="3279866"/>
                </a:lnTo>
                <a:lnTo>
                  <a:pt x="1240972" y="3141069"/>
                </a:lnTo>
                <a:lnTo>
                  <a:pt x="0" y="3141069"/>
                </a:lnTo>
                <a:lnTo>
                  <a:pt x="0" y="3063782"/>
                </a:lnTo>
                <a:lnTo>
                  <a:pt x="1240972" y="3063782"/>
                </a:lnTo>
                <a:lnTo>
                  <a:pt x="1240972" y="2942953"/>
                </a:lnTo>
                <a:lnTo>
                  <a:pt x="343464" y="2942953"/>
                </a:lnTo>
                <a:lnTo>
                  <a:pt x="343464" y="2865666"/>
                </a:lnTo>
                <a:lnTo>
                  <a:pt x="1240972" y="2865666"/>
                </a:lnTo>
                <a:lnTo>
                  <a:pt x="1240972" y="2770414"/>
                </a:lnTo>
                <a:lnTo>
                  <a:pt x="2020709" y="2770414"/>
                </a:lnTo>
                <a:lnTo>
                  <a:pt x="2020709" y="2705099"/>
                </a:lnTo>
                <a:lnTo>
                  <a:pt x="1240972" y="2705099"/>
                </a:lnTo>
                <a:lnTo>
                  <a:pt x="1240972" y="2453364"/>
                </a:lnTo>
                <a:lnTo>
                  <a:pt x="2113162" y="2453364"/>
                </a:lnTo>
                <a:lnTo>
                  <a:pt x="2113162" y="2261777"/>
                </a:lnTo>
                <a:lnTo>
                  <a:pt x="1240972" y="2261777"/>
                </a:lnTo>
                <a:lnTo>
                  <a:pt x="1240972" y="2065018"/>
                </a:lnTo>
                <a:lnTo>
                  <a:pt x="544605" y="2065018"/>
                </a:lnTo>
                <a:lnTo>
                  <a:pt x="544605" y="1999703"/>
                </a:lnTo>
                <a:lnTo>
                  <a:pt x="1240972" y="1999703"/>
                </a:lnTo>
                <a:lnTo>
                  <a:pt x="1240972" y="1794507"/>
                </a:lnTo>
                <a:lnTo>
                  <a:pt x="2587402" y="1794507"/>
                </a:lnTo>
                <a:lnTo>
                  <a:pt x="2587402" y="1717220"/>
                </a:lnTo>
                <a:lnTo>
                  <a:pt x="1240972" y="1717220"/>
                </a:lnTo>
                <a:lnTo>
                  <a:pt x="1240972" y="1582782"/>
                </a:lnTo>
                <a:lnTo>
                  <a:pt x="191589" y="1582782"/>
                </a:lnTo>
                <a:lnTo>
                  <a:pt x="191589" y="1391193"/>
                </a:lnTo>
                <a:lnTo>
                  <a:pt x="1240972" y="1391193"/>
                </a:lnTo>
                <a:lnTo>
                  <a:pt x="1240972" y="1256756"/>
                </a:lnTo>
                <a:lnTo>
                  <a:pt x="2981203" y="1256756"/>
                </a:lnTo>
                <a:lnTo>
                  <a:pt x="2981203" y="1179469"/>
                </a:lnTo>
                <a:lnTo>
                  <a:pt x="1240972" y="1179469"/>
                </a:lnTo>
                <a:lnTo>
                  <a:pt x="1240972" y="1024346"/>
                </a:lnTo>
                <a:lnTo>
                  <a:pt x="2051188" y="1024346"/>
                </a:lnTo>
                <a:lnTo>
                  <a:pt x="2051188" y="828402"/>
                </a:lnTo>
                <a:lnTo>
                  <a:pt x="1240972" y="828402"/>
                </a:lnTo>
                <a:lnTo>
                  <a:pt x="1240972" y="695597"/>
                </a:lnTo>
                <a:lnTo>
                  <a:pt x="579440" y="695597"/>
                </a:lnTo>
                <a:lnTo>
                  <a:pt x="579440" y="504009"/>
                </a:lnTo>
                <a:lnTo>
                  <a:pt x="1240972" y="504009"/>
                </a:lnTo>
                <a:lnTo>
                  <a:pt x="1240972" y="447943"/>
                </a:lnTo>
                <a:lnTo>
                  <a:pt x="977276" y="447943"/>
                </a:lnTo>
                <a:lnTo>
                  <a:pt x="977276" y="370656"/>
                </a:lnTo>
                <a:lnTo>
                  <a:pt x="1240972" y="370656"/>
                </a:lnTo>
                <a:close/>
              </a:path>
            </a:pathLst>
          </a:custGeom>
          <a:solidFill>
            <a:schemeClr val="bg1">
              <a:lumMod val="95000"/>
            </a:schemeClr>
          </a:solidFill>
          <a:ln w="152400">
            <a:noFill/>
          </a:ln>
          <a:effectLst/>
        </p:spPr>
        <p:txBody>
          <a:bodyPr wrap="square" anchor="ctr">
            <a:noAutofit/>
          </a:bodyP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37963849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4" name="Rectangle 3"/>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 name="Rectangle 4"/>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Tree>
    <p:extLst>
      <p:ext uri="{BB962C8B-B14F-4D97-AF65-F5344CB8AC3E}">
        <p14:creationId xmlns:p14="http://schemas.microsoft.com/office/powerpoint/2010/main" val="2426569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0155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7"/>
        <p:cNvGrpSpPr/>
        <p:nvPr/>
      </p:nvGrpSpPr>
      <p:grpSpPr>
        <a:xfrm>
          <a:off x="0" y="0"/>
          <a:ext cx="0" cy="0"/>
          <a:chOff x="0" y="0"/>
          <a:chExt cx="0" cy="0"/>
        </a:xfrm>
      </p:grpSpPr>
      <p:sp>
        <p:nvSpPr>
          <p:cNvPr id="18" name="Google Shape;18;p31"/>
          <p:cNvSpPr/>
          <p:nvPr/>
        </p:nvSpPr>
        <p:spPr>
          <a:xfrm>
            <a:off x="0" y="1"/>
            <a:ext cx="12192000" cy="579507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 name="Google Shape;19;p31"/>
          <p:cNvSpPr txBox="1">
            <a:spLocks noGrp="1"/>
          </p:cNvSpPr>
          <p:nvPr>
            <p:ph type="title"/>
          </p:nvPr>
        </p:nvSpPr>
        <p:spPr>
          <a:xfrm>
            <a:off x="279401" y="273051"/>
            <a:ext cx="11636375" cy="4603751"/>
          </a:xfrm>
          <a:prstGeom prst="rect">
            <a:avLst/>
          </a:prstGeom>
          <a:noFill/>
          <a:ln>
            <a:noFill/>
          </a:ln>
        </p:spPr>
        <p:txBody>
          <a:bodyPr spcFirstLastPara="1" wrap="square" lIns="0" tIns="0" rIns="0" bIns="0" anchor="ctr" anchorCtr="0">
            <a:noAutofit/>
          </a:bodyPr>
          <a:lstStyle>
            <a:lvl1pPr lvl="0" algn="ctr">
              <a:lnSpc>
                <a:spcPct val="110000"/>
              </a:lnSpc>
              <a:spcBef>
                <a:spcPts val="0"/>
              </a:spcBef>
              <a:spcAft>
                <a:spcPts val="0"/>
              </a:spcAft>
              <a:buClr>
                <a:schemeClr val="lt1"/>
              </a:buClr>
              <a:buSzPts val="7000"/>
              <a:buFont typeface="Arial"/>
              <a:buNone/>
              <a:defRPr sz="7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69775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d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Graphic 2">
            <a:extLst>
              <a:ext uri="{FF2B5EF4-FFF2-40B4-BE49-F238E27FC236}">
                <a16:creationId xmlns:a16="http://schemas.microsoft.com/office/drawing/2014/main" id="{C6032FB9-BC74-4D22-9490-C57A3761EB46}"/>
              </a:ext>
            </a:extLst>
          </p:cNvPr>
          <p:cNvSpPr/>
          <p:nvPr userDrawn="1"/>
        </p:nvSpPr>
        <p:spPr>
          <a:xfrm flipH="1">
            <a:off x="3994321" y="809154"/>
            <a:ext cx="4427783" cy="5323880"/>
          </a:xfrm>
          <a:custGeom>
            <a:avLst/>
            <a:gdLst>
              <a:gd name="connsiteX0" fmla="*/ 198332 w 800100"/>
              <a:gd name="connsiteY0" fmla="*/ 961703 h 962025"/>
              <a:gd name="connsiteX1" fmla="*/ 646959 w 800100"/>
              <a:gd name="connsiteY1" fmla="*/ 961703 h 962025"/>
              <a:gd name="connsiteX2" fmla="*/ 610764 w 800100"/>
              <a:gd name="connsiteY2" fmla="*/ 885503 h 962025"/>
              <a:gd name="connsiteX3" fmla="*/ 686964 w 800100"/>
              <a:gd name="connsiteY3" fmla="*/ 625471 h 962025"/>
              <a:gd name="connsiteX4" fmla="*/ 786024 w 800100"/>
              <a:gd name="connsiteY4" fmla="*/ 283523 h 962025"/>
              <a:gd name="connsiteX5" fmla="*/ 359304 w 800100"/>
              <a:gd name="connsiteY5" fmla="*/ 14918 h 962025"/>
              <a:gd name="connsiteX6" fmla="*/ 124037 w 800100"/>
              <a:gd name="connsiteY6" fmla="*/ 211133 h 962025"/>
              <a:gd name="connsiteX7" fmla="*/ 116417 w 800100"/>
              <a:gd name="connsiteY7" fmla="*/ 270188 h 962025"/>
              <a:gd name="connsiteX8" fmla="*/ 59267 w 800100"/>
              <a:gd name="connsiteY8" fmla="*/ 367343 h 962025"/>
              <a:gd name="connsiteX9" fmla="*/ 13547 w 800100"/>
              <a:gd name="connsiteY9" fmla="*/ 427351 h 962025"/>
              <a:gd name="connsiteX10" fmla="*/ 24024 w 800100"/>
              <a:gd name="connsiteY10" fmla="*/ 515933 h 962025"/>
              <a:gd name="connsiteX11" fmla="*/ 63077 w 800100"/>
              <a:gd name="connsiteY11" fmla="*/ 552128 h 962025"/>
              <a:gd name="connsiteX12" fmla="*/ 18309 w 800100"/>
              <a:gd name="connsiteY12" fmla="*/ 570226 h 962025"/>
              <a:gd name="connsiteX13" fmla="*/ 30692 w 800100"/>
              <a:gd name="connsiteY13" fmla="*/ 609278 h 962025"/>
              <a:gd name="connsiteX14" fmla="*/ 29739 w 800100"/>
              <a:gd name="connsiteY14" fmla="*/ 673096 h 962025"/>
              <a:gd name="connsiteX15" fmla="*/ 85937 w 800100"/>
              <a:gd name="connsiteY15" fmla="*/ 744533 h 962025"/>
              <a:gd name="connsiteX16" fmla="*/ 225002 w 800100"/>
              <a:gd name="connsiteY16" fmla="*/ 764536 h 962025"/>
              <a:gd name="connsiteX17" fmla="*/ 198332 w 800100"/>
              <a:gd name="connsiteY17" fmla="*/ 961703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0100" h="962025">
                <a:moveTo>
                  <a:pt x="198332" y="961703"/>
                </a:moveTo>
                <a:lnTo>
                  <a:pt x="646959" y="961703"/>
                </a:lnTo>
                <a:cubicBezTo>
                  <a:pt x="633624" y="935986"/>
                  <a:pt x="619337" y="903601"/>
                  <a:pt x="610764" y="885503"/>
                </a:cubicBezTo>
                <a:cubicBezTo>
                  <a:pt x="586952" y="829306"/>
                  <a:pt x="604097" y="706433"/>
                  <a:pt x="686964" y="625471"/>
                </a:cubicBezTo>
                <a:cubicBezTo>
                  <a:pt x="766022" y="548318"/>
                  <a:pt x="817457" y="398776"/>
                  <a:pt x="786024" y="283523"/>
                </a:cubicBezTo>
                <a:cubicBezTo>
                  <a:pt x="734589" y="93023"/>
                  <a:pt x="563139" y="-25087"/>
                  <a:pt x="359304" y="14918"/>
                </a:cubicBezTo>
                <a:cubicBezTo>
                  <a:pt x="359304" y="14918"/>
                  <a:pt x="183092" y="36826"/>
                  <a:pt x="124037" y="211133"/>
                </a:cubicBezTo>
                <a:cubicBezTo>
                  <a:pt x="124037" y="211133"/>
                  <a:pt x="114512" y="236851"/>
                  <a:pt x="116417" y="270188"/>
                </a:cubicBezTo>
                <a:cubicBezTo>
                  <a:pt x="121179" y="323528"/>
                  <a:pt x="83079" y="354961"/>
                  <a:pt x="59267" y="367343"/>
                </a:cubicBezTo>
                <a:cubicBezTo>
                  <a:pt x="34502" y="380678"/>
                  <a:pt x="-9313" y="402586"/>
                  <a:pt x="13547" y="427351"/>
                </a:cubicBezTo>
                <a:cubicBezTo>
                  <a:pt x="41169" y="457831"/>
                  <a:pt x="39264" y="496883"/>
                  <a:pt x="24024" y="515933"/>
                </a:cubicBezTo>
                <a:cubicBezTo>
                  <a:pt x="4974" y="538793"/>
                  <a:pt x="60219" y="539746"/>
                  <a:pt x="63077" y="552128"/>
                </a:cubicBezTo>
                <a:cubicBezTo>
                  <a:pt x="65934" y="565463"/>
                  <a:pt x="22119" y="554986"/>
                  <a:pt x="18309" y="570226"/>
                </a:cubicBezTo>
                <a:cubicBezTo>
                  <a:pt x="14499" y="586418"/>
                  <a:pt x="26882" y="590228"/>
                  <a:pt x="30692" y="609278"/>
                </a:cubicBezTo>
                <a:cubicBezTo>
                  <a:pt x="34502" y="628328"/>
                  <a:pt x="31644" y="663571"/>
                  <a:pt x="29739" y="673096"/>
                </a:cubicBezTo>
                <a:cubicBezTo>
                  <a:pt x="27834" y="682621"/>
                  <a:pt x="33549" y="739771"/>
                  <a:pt x="85937" y="744533"/>
                </a:cubicBezTo>
                <a:cubicBezTo>
                  <a:pt x="138324" y="749296"/>
                  <a:pt x="204047" y="738818"/>
                  <a:pt x="225002" y="764536"/>
                </a:cubicBezTo>
                <a:cubicBezTo>
                  <a:pt x="244052" y="790253"/>
                  <a:pt x="222144" y="890266"/>
                  <a:pt x="198332" y="961703"/>
                </a:cubicBez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3950237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defRPr sz="1200" b="1" i="0">
                <a:solidFill>
                  <a:schemeClr val="bg1"/>
                </a:solidFill>
                <a:latin typeface="Arial"/>
                <a:cs typeface="Arial"/>
              </a:defRPr>
            </a:lvl1pPr>
          </a:lstStyle>
          <a:p>
            <a:pPr marL="12700">
              <a:lnSpc>
                <a:spcPts val="1430"/>
              </a:lnSpc>
            </a:pPr>
            <a:r>
              <a:rPr spc="-10" dirty="0">
                <a:solidFill>
                  <a:srgbClr val="002F86"/>
                </a:solidFill>
              </a:rPr>
              <a:t>05.03.2021</a:t>
            </a:r>
          </a:p>
        </p:txBody>
      </p:sp>
      <p:sp>
        <p:nvSpPr>
          <p:cNvPr id="4" name="Holder 4"/>
          <p:cNvSpPr>
            <a:spLocks noGrp="1"/>
          </p:cNvSpPr>
          <p:nvPr>
            <p:ph type="sldNum" sz="quarter" idx="7"/>
          </p:nvPr>
        </p:nvSpPr>
        <p:spPr/>
        <p:txBody>
          <a:bodyPr lIns="0" tIns="0" rIns="0" bIns="0"/>
          <a:lstStyle>
            <a:lvl1pPr>
              <a:defRPr sz="1200" b="0" i="0">
                <a:solidFill>
                  <a:schemeClr val="bg1"/>
                </a:solidFill>
                <a:latin typeface="Arial"/>
                <a:cs typeface="Arial"/>
              </a:defRPr>
            </a:lvl1pPr>
          </a:lstStyle>
          <a:p>
            <a:pPr marL="38100">
              <a:lnSpc>
                <a:spcPts val="1425"/>
              </a:lnSpc>
            </a:pPr>
            <a:fld id="{81D60167-4931-47E6-BA6A-407CBD079E47}" type="slidenum">
              <a:rPr spc="-25" dirty="0">
                <a:solidFill>
                  <a:srgbClr val="002F86"/>
                </a:solidFill>
              </a:rPr>
              <a:t>‹nr.›</a:t>
            </a:fld>
            <a:endParaRPr spc="-25" dirty="0">
              <a:solidFill>
                <a:srgbClr val="002F86"/>
              </a:solidFill>
            </a:endParaRPr>
          </a:p>
        </p:txBody>
      </p:sp>
    </p:spTree>
    <p:extLst>
      <p:ext uri="{BB962C8B-B14F-4D97-AF65-F5344CB8AC3E}">
        <p14:creationId xmlns:p14="http://schemas.microsoft.com/office/powerpoint/2010/main" val="10408066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705286" y="6010824"/>
            <a:ext cx="2266892" cy="603986"/>
          </a:xfrm>
          <a:prstGeom prst="rect">
            <a:avLst/>
          </a:prstGeom>
        </p:spPr>
      </p:pic>
      <p:sp>
        <p:nvSpPr>
          <p:cNvPr id="17" name="bg object 17"/>
          <p:cNvSpPr/>
          <p:nvPr/>
        </p:nvSpPr>
        <p:spPr>
          <a:xfrm>
            <a:off x="278891" y="272795"/>
            <a:ext cx="407034" cy="64135"/>
          </a:xfrm>
          <a:custGeom>
            <a:avLst/>
            <a:gdLst/>
            <a:ahLst/>
            <a:cxnLst/>
            <a:rect l="l" t="t" r="r" b="b"/>
            <a:pathLst>
              <a:path w="407034" h="64135">
                <a:moveTo>
                  <a:pt x="406908" y="0"/>
                </a:moveTo>
                <a:lnTo>
                  <a:pt x="0" y="0"/>
                </a:lnTo>
                <a:lnTo>
                  <a:pt x="0" y="64007"/>
                </a:lnTo>
                <a:lnTo>
                  <a:pt x="406908" y="64007"/>
                </a:lnTo>
                <a:lnTo>
                  <a:pt x="406908" y="0"/>
                </a:lnTo>
                <a:close/>
              </a:path>
            </a:pathLst>
          </a:custGeom>
          <a:solidFill>
            <a:srgbClr val="41B6E4"/>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0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defRPr sz="1200" b="1" i="0">
                <a:solidFill>
                  <a:schemeClr val="bg1"/>
                </a:solidFill>
                <a:latin typeface="Arial"/>
                <a:cs typeface="Arial"/>
              </a:defRPr>
            </a:lvl1pPr>
          </a:lstStyle>
          <a:p>
            <a:pPr marL="12700">
              <a:lnSpc>
                <a:spcPts val="1430"/>
              </a:lnSpc>
            </a:pPr>
            <a:r>
              <a:rPr spc="-10" dirty="0">
                <a:solidFill>
                  <a:srgbClr val="002F86"/>
                </a:solidFill>
              </a:rPr>
              <a:t>05.03.2021</a:t>
            </a:r>
          </a:p>
        </p:txBody>
      </p:sp>
      <p:sp>
        <p:nvSpPr>
          <p:cNvPr id="6" name="Holder 6"/>
          <p:cNvSpPr>
            <a:spLocks noGrp="1"/>
          </p:cNvSpPr>
          <p:nvPr>
            <p:ph type="sldNum" sz="quarter" idx="7"/>
          </p:nvPr>
        </p:nvSpPr>
        <p:spPr/>
        <p:txBody>
          <a:bodyPr lIns="0" tIns="0" rIns="0" bIns="0"/>
          <a:lstStyle>
            <a:lvl1pPr>
              <a:defRPr sz="1200" b="0" i="0">
                <a:solidFill>
                  <a:schemeClr val="bg1"/>
                </a:solidFill>
                <a:latin typeface="Arial"/>
                <a:cs typeface="Arial"/>
              </a:defRPr>
            </a:lvl1pPr>
          </a:lstStyle>
          <a:p>
            <a:pPr marL="38100">
              <a:lnSpc>
                <a:spcPts val="1425"/>
              </a:lnSpc>
            </a:pPr>
            <a:fld id="{81D60167-4931-47E6-BA6A-407CBD079E47}" type="slidenum">
              <a:rPr spc="-25" dirty="0">
                <a:solidFill>
                  <a:srgbClr val="002F86"/>
                </a:solidFill>
              </a:rPr>
              <a:t>‹nr.›</a:t>
            </a:fld>
            <a:endParaRPr spc="-25" dirty="0">
              <a:solidFill>
                <a:srgbClr val="002F86"/>
              </a:solidFill>
            </a:endParaRPr>
          </a:p>
        </p:txBody>
      </p:sp>
    </p:spTree>
    <p:extLst>
      <p:ext uri="{BB962C8B-B14F-4D97-AF65-F5344CB8AC3E}">
        <p14:creationId xmlns:p14="http://schemas.microsoft.com/office/powerpoint/2010/main" val="41255497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7"/>
        <p:cNvGrpSpPr/>
        <p:nvPr/>
      </p:nvGrpSpPr>
      <p:grpSpPr>
        <a:xfrm>
          <a:off x="0" y="0"/>
          <a:ext cx="0" cy="0"/>
          <a:chOff x="0" y="0"/>
          <a:chExt cx="0" cy="0"/>
        </a:xfrm>
      </p:grpSpPr>
      <p:sp>
        <p:nvSpPr>
          <p:cNvPr id="18" name="Google Shape;18;p31"/>
          <p:cNvSpPr/>
          <p:nvPr/>
        </p:nvSpPr>
        <p:spPr>
          <a:xfrm>
            <a:off x="0" y="1"/>
            <a:ext cx="12192000" cy="579507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 name="Google Shape;19;p31"/>
          <p:cNvSpPr txBox="1">
            <a:spLocks noGrp="1"/>
          </p:cNvSpPr>
          <p:nvPr>
            <p:ph type="title"/>
          </p:nvPr>
        </p:nvSpPr>
        <p:spPr>
          <a:xfrm>
            <a:off x="279401" y="273051"/>
            <a:ext cx="11636375" cy="4603751"/>
          </a:xfrm>
          <a:prstGeom prst="rect">
            <a:avLst/>
          </a:prstGeom>
          <a:noFill/>
          <a:ln>
            <a:noFill/>
          </a:ln>
        </p:spPr>
        <p:txBody>
          <a:bodyPr spcFirstLastPara="1" wrap="square" lIns="0" tIns="0" rIns="0" bIns="0" anchor="ctr" anchorCtr="0">
            <a:noAutofit/>
          </a:bodyPr>
          <a:lstStyle>
            <a:lvl1pPr lvl="0" algn="ctr">
              <a:lnSpc>
                <a:spcPct val="110000"/>
              </a:lnSpc>
              <a:spcBef>
                <a:spcPts val="0"/>
              </a:spcBef>
              <a:spcAft>
                <a:spcPts val="0"/>
              </a:spcAft>
              <a:buClr>
                <a:schemeClr val="lt1"/>
              </a:buClr>
              <a:buSzPts val="7000"/>
              <a:buFont typeface="Arial"/>
              <a:buNone/>
              <a:defRPr sz="7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37583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rot="19140000">
            <a:off x="268224" y="5870448"/>
            <a:ext cx="2901696" cy="201168"/>
          </a:xfrm>
          <a:prstGeom prst="rect">
            <a:avLst/>
          </a:prstGeom>
        </p:spPr>
        <p:txBody>
          <a:bodyPr/>
          <a:lstStyle/>
          <a:p>
            <a:fld id="{45FE6251-2874-3747-9CBF-B63B41FBFF2C}" type="datetimeFigureOut">
              <a:rPr lang="en-US" smtClean="0"/>
              <a:t>3/15/2022</a:t>
            </a:fld>
            <a:endParaRPr lang="en-US"/>
          </a:p>
        </p:txBody>
      </p:sp>
      <p:sp>
        <p:nvSpPr>
          <p:cNvPr id="3" name="Footer Placeholder 2"/>
          <p:cNvSpPr>
            <a:spLocks noGrp="1"/>
          </p:cNvSpPr>
          <p:nvPr>
            <p:ph type="ftr" sz="quarter" idx="11"/>
          </p:nvPr>
        </p:nvSpPr>
        <p:spPr>
          <a:xfrm>
            <a:off x="4690019" y="6285122"/>
            <a:ext cx="6299200" cy="274320"/>
          </a:xfrm>
          <a:prstGeom prst="rect">
            <a:avLst/>
          </a:prstGeom>
        </p:spPr>
        <p:txBody>
          <a:bodyPr/>
          <a:lstStyle/>
          <a:p>
            <a:endParaRPr lang="en-US"/>
          </a:p>
        </p:txBody>
      </p:sp>
      <p:sp>
        <p:nvSpPr>
          <p:cNvPr id="4" name="Slide Number Placeholder 3"/>
          <p:cNvSpPr>
            <a:spLocks noGrp="1"/>
          </p:cNvSpPr>
          <p:nvPr>
            <p:ph type="sldNum" sz="quarter" idx="12"/>
          </p:nvPr>
        </p:nvSpPr>
        <p:spPr>
          <a:xfrm>
            <a:off x="11260667" y="6464362"/>
            <a:ext cx="321733" cy="260226"/>
          </a:xfrm>
          <a:prstGeom prst="rect">
            <a:avLst/>
          </a:prstGeom>
        </p:spPr>
        <p:txBody>
          <a:bodyPr/>
          <a:lstStyle/>
          <a:p>
            <a:fld id="{7791DDA0-73E5-8C41-BB6E-8ED092FF99B0}" type="slidenum">
              <a:rPr lang="en-US" smtClean="0"/>
              <a:t>‹nr.›</a:t>
            </a:fld>
            <a:endParaRPr lang="en-US"/>
          </a:p>
        </p:txBody>
      </p:sp>
    </p:spTree>
    <p:extLst>
      <p:ext uri="{BB962C8B-B14F-4D97-AF65-F5344CB8AC3E}">
        <p14:creationId xmlns:p14="http://schemas.microsoft.com/office/powerpoint/2010/main" val="1609808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Voeg eigen afbeelding in">
    <p:spTree>
      <p:nvGrpSpPr>
        <p:cNvPr id="1" name=""/>
        <p:cNvGrpSpPr/>
        <p:nvPr/>
      </p:nvGrpSpPr>
      <p:grpSpPr>
        <a:xfrm>
          <a:off x="0" y="0"/>
          <a:ext cx="0" cy="0"/>
          <a:chOff x="0" y="0"/>
          <a:chExt cx="0" cy="0"/>
        </a:xfrm>
      </p:grpSpPr>
      <p:sp>
        <p:nvSpPr>
          <p:cNvPr id="17" name="Rechthoek 16"/>
          <p:cNvSpPr/>
          <p:nvPr userDrawn="1"/>
        </p:nvSpPr>
        <p:spPr>
          <a:xfrm>
            <a:off x="2" y="6133763"/>
            <a:ext cx="12191999" cy="724237"/>
          </a:xfrm>
          <a:prstGeom prst="rect">
            <a:avLst/>
          </a:prstGeom>
          <a:gradFill>
            <a:gsLst>
              <a:gs pos="0">
                <a:srgbClr val="344E6E"/>
              </a:gs>
              <a:gs pos="11000">
                <a:srgbClr val="5E729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sp>
        <p:nvSpPr>
          <p:cNvPr id="9" name="Rechthoek 8"/>
          <p:cNvSpPr/>
          <p:nvPr userDrawn="1"/>
        </p:nvSpPr>
        <p:spPr>
          <a:xfrm>
            <a:off x="1" y="4997302"/>
            <a:ext cx="12192000" cy="1168002"/>
          </a:xfrm>
          <a:prstGeom prst="rect">
            <a:avLst/>
          </a:prstGeom>
          <a:gradFill flip="none" rotWithShape="1">
            <a:gsLst>
              <a:gs pos="0">
                <a:srgbClr val="E6E9F0"/>
              </a:gs>
              <a:gs pos="71000">
                <a:srgbClr val="F7F9F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sp>
        <p:nvSpPr>
          <p:cNvPr id="2" name="Titel 1"/>
          <p:cNvSpPr>
            <a:spLocks noGrp="1"/>
          </p:cNvSpPr>
          <p:nvPr>
            <p:ph type="ctrTitle" hasCustomPrompt="1"/>
          </p:nvPr>
        </p:nvSpPr>
        <p:spPr>
          <a:xfrm>
            <a:off x="143338" y="5199336"/>
            <a:ext cx="11739254" cy="461913"/>
          </a:xfrm>
        </p:spPr>
        <p:txBody>
          <a:bodyPr anchor="t" anchorCtr="0">
            <a:noAutofit/>
          </a:bodyPr>
          <a:lstStyle>
            <a:lvl1pPr algn="l">
              <a:lnSpc>
                <a:spcPts val="2963"/>
              </a:lnSpc>
              <a:defRPr sz="2963" b="1">
                <a:solidFill>
                  <a:srgbClr val="365172"/>
                </a:solidFill>
              </a:defRPr>
            </a:lvl1pPr>
          </a:lstStyle>
          <a:p>
            <a:r>
              <a:rPr lang="nl-NL" dirty="0"/>
              <a:t>KLIK OM DE STIJL TE BEWERKEN</a:t>
            </a:r>
            <a:endParaRPr lang="en-US" dirty="0"/>
          </a:p>
        </p:txBody>
      </p:sp>
      <p:sp>
        <p:nvSpPr>
          <p:cNvPr id="3" name="Ondertitel 2"/>
          <p:cNvSpPr>
            <a:spLocks noGrp="1"/>
          </p:cNvSpPr>
          <p:nvPr>
            <p:ph type="subTitle" idx="1"/>
          </p:nvPr>
        </p:nvSpPr>
        <p:spPr>
          <a:xfrm>
            <a:off x="143338" y="5661248"/>
            <a:ext cx="11739254" cy="288032"/>
          </a:xfrm>
        </p:spPr>
        <p:txBody>
          <a:bodyPr anchor="ctr" anchorCtr="0">
            <a:noAutofit/>
          </a:bodyPr>
          <a:lstStyle>
            <a:lvl1pPr marL="0" indent="0" algn="l">
              <a:buNone/>
              <a:defRPr sz="2116">
                <a:solidFill>
                  <a:srgbClr val="365172"/>
                </a:solidFill>
              </a:defRPr>
            </a:lvl1pPr>
            <a:lvl2pPr marL="483763" indent="0" algn="ctr">
              <a:buNone/>
              <a:defRPr>
                <a:solidFill>
                  <a:schemeClr val="tx1">
                    <a:tint val="75000"/>
                  </a:schemeClr>
                </a:solidFill>
              </a:defRPr>
            </a:lvl2pPr>
            <a:lvl3pPr marL="967527" indent="0" algn="ctr">
              <a:buNone/>
              <a:defRPr>
                <a:solidFill>
                  <a:schemeClr val="tx1">
                    <a:tint val="75000"/>
                  </a:schemeClr>
                </a:solidFill>
              </a:defRPr>
            </a:lvl3pPr>
            <a:lvl4pPr marL="1451290" indent="0" algn="ctr">
              <a:buNone/>
              <a:defRPr>
                <a:solidFill>
                  <a:schemeClr val="tx1">
                    <a:tint val="75000"/>
                  </a:schemeClr>
                </a:solidFill>
              </a:defRPr>
            </a:lvl4pPr>
            <a:lvl5pPr marL="1935053" indent="0" algn="ctr">
              <a:buNone/>
              <a:defRPr>
                <a:solidFill>
                  <a:schemeClr val="tx1">
                    <a:tint val="75000"/>
                  </a:schemeClr>
                </a:solidFill>
              </a:defRPr>
            </a:lvl5pPr>
            <a:lvl6pPr marL="2418817" indent="0" algn="ctr">
              <a:buNone/>
              <a:defRPr>
                <a:solidFill>
                  <a:schemeClr val="tx1">
                    <a:tint val="75000"/>
                  </a:schemeClr>
                </a:solidFill>
              </a:defRPr>
            </a:lvl6pPr>
            <a:lvl7pPr marL="2902580" indent="0" algn="ctr">
              <a:buNone/>
              <a:defRPr>
                <a:solidFill>
                  <a:schemeClr val="tx1">
                    <a:tint val="75000"/>
                  </a:schemeClr>
                </a:solidFill>
              </a:defRPr>
            </a:lvl7pPr>
            <a:lvl8pPr marL="3386343" indent="0" algn="ctr">
              <a:buNone/>
              <a:defRPr>
                <a:solidFill>
                  <a:schemeClr val="tx1">
                    <a:tint val="75000"/>
                  </a:schemeClr>
                </a:solidFill>
              </a:defRPr>
            </a:lvl8pPr>
            <a:lvl9pPr marL="3870107" indent="0" algn="ctr">
              <a:buNone/>
              <a:defRPr>
                <a:solidFill>
                  <a:schemeClr val="tx1">
                    <a:tint val="75000"/>
                  </a:schemeClr>
                </a:solidFill>
              </a:defRPr>
            </a:lvl9pPr>
          </a:lstStyle>
          <a:p>
            <a:r>
              <a:rPr lang="en-US"/>
              <a:t>Click to edit Master subtitle style</a:t>
            </a:r>
            <a:endParaRPr lang="en-US" dirty="0"/>
          </a:p>
        </p:txBody>
      </p:sp>
      <p:sp>
        <p:nvSpPr>
          <p:cNvPr id="4" name="Tijdelijke aanduiding voor datum 3"/>
          <p:cNvSpPr>
            <a:spLocks noGrp="1"/>
          </p:cNvSpPr>
          <p:nvPr>
            <p:ph type="dt" sz="half" idx="10"/>
          </p:nvPr>
        </p:nvSpPr>
        <p:spPr/>
        <p:txBody>
          <a:bodyPr/>
          <a:lstStyle/>
          <a:p>
            <a:fld id="{4ABCD03A-3AF5-4972-AFED-D08B7C48DE65}" type="datetime1">
              <a:rPr lang="en-US" smtClean="0"/>
              <a:t>3/15/2022</a:t>
            </a:fld>
            <a:endParaRPr lang="en-US"/>
          </a:p>
        </p:txBody>
      </p:sp>
      <p:sp>
        <p:nvSpPr>
          <p:cNvPr id="5" name="Tijdelijke aanduiding voor voettekst 4"/>
          <p:cNvSpPr>
            <a:spLocks noGrp="1"/>
          </p:cNvSpPr>
          <p:nvPr>
            <p:ph type="ftr" sz="quarter" idx="11"/>
          </p:nvPr>
        </p:nvSpPr>
        <p:spPr/>
        <p:txBody>
          <a:bodyPr/>
          <a:lstStyle/>
          <a:p>
            <a:endParaRPr lang="en-US" dirty="0"/>
          </a:p>
        </p:txBody>
      </p:sp>
      <p:sp>
        <p:nvSpPr>
          <p:cNvPr id="6" name="Tijdelijke aanduiding voor dianummer 5"/>
          <p:cNvSpPr>
            <a:spLocks noGrp="1"/>
          </p:cNvSpPr>
          <p:nvPr>
            <p:ph type="sldNum" sz="quarter" idx="12"/>
          </p:nvPr>
        </p:nvSpPr>
        <p:spPr/>
        <p:txBody>
          <a:bodyPr/>
          <a:lstStyle/>
          <a:p>
            <a:fld id="{34A0F559-C120-4789-B420-3451E346105D}" type="slidenum">
              <a:rPr lang="en-US" smtClean="0"/>
              <a:t>‹nr.›</a:t>
            </a:fld>
            <a:endParaRPr lang="en-US"/>
          </a:p>
        </p:txBody>
      </p:sp>
      <p:sp>
        <p:nvSpPr>
          <p:cNvPr id="20" name="Tekstvak 19"/>
          <p:cNvSpPr txBox="1"/>
          <p:nvPr userDrawn="1"/>
        </p:nvSpPr>
        <p:spPr>
          <a:xfrm>
            <a:off x="144000" y="6405949"/>
            <a:ext cx="4512502" cy="255134"/>
          </a:xfrm>
          <a:prstGeom prst="rect">
            <a:avLst/>
          </a:prstGeom>
          <a:noFill/>
        </p:spPr>
        <p:txBody>
          <a:bodyPr wrap="square" rtlCol="0">
            <a:spAutoFit/>
          </a:bodyPr>
          <a:lstStyle/>
          <a:p>
            <a:r>
              <a:rPr lang="nl-NL" sz="1058" b="1" dirty="0">
                <a:solidFill>
                  <a:schemeClr val="bg1"/>
                </a:solidFill>
                <a:latin typeface="Arial" panose="020B0604020202020204" pitchFamily="34" charset="0"/>
                <a:cs typeface="Arial" panose="020B0604020202020204" pitchFamily="34" charset="0"/>
              </a:rPr>
              <a:t>NYENRODE.</a:t>
            </a:r>
            <a:r>
              <a:rPr lang="nl-NL" sz="1058" b="1" baseline="0" dirty="0">
                <a:solidFill>
                  <a:schemeClr val="bg1"/>
                </a:solidFill>
                <a:latin typeface="Arial" panose="020B0604020202020204" pitchFamily="34" charset="0"/>
                <a:cs typeface="Arial" panose="020B0604020202020204" pitchFamily="34" charset="0"/>
              </a:rPr>
              <a:t> A REWARD FOR LIFE</a:t>
            </a:r>
            <a:endParaRPr lang="en-US" sz="1058" b="1" dirty="0">
              <a:solidFill>
                <a:schemeClr val="bg1"/>
              </a:solidFill>
              <a:latin typeface="Arial" panose="020B0604020202020204" pitchFamily="34" charset="0"/>
              <a:cs typeface="Arial" panose="020B0604020202020204" pitchFamily="34" charset="0"/>
            </a:endParaRPr>
          </a:p>
        </p:txBody>
      </p:sp>
      <p:sp>
        <p:nvSpPr>
          <p:cNvPr id="8" name="Tijdelijke aanduiding voor afbeelding 7"/>
          <p:cNvSpPr>
            <a:spLocks noGrp="1"/>
          </p:cNvSpPr>
          <p:nvPr>
            <p:ph type="pic" sz="quarter" idx="13" hasCustomPrompt="1"/>
          </p:nvPr>
        </p:nvSpPr>
        <p:spPr>
          <a:xfrm>
            <a:off x="1" y="0"/>
            <a:ext cx="12192000" cy="4997451"/>
          </a:xfrm>
        </p:spPr>
        <p:txBody>
          <a:bodyPr>
            <a:normAutofit/>
          </a:bodyPr>
          <a:lstStyle>
            <a:lvl1pPr marL="0" indent="0" algn="l">
              <a:buNone/>
              <a:defRPr sz="1481"/>
            </a:lvl1pPr>
          </a:lstStyle>
          <a:p>
            <a:r>
              <a:rPr lang="nl-NL" dirty="0"/>
              <a:t>Klik op het icoontje om een andere afbeelding toe te voegen</a:t>
            </a:r>
          </a:p>
        </p:txBody>
      </p:sp>
      <p:pic>
        <p:nvPicPr>
          <p:cNvPr id="13" name="Picture 2" descr="e:\Users\Studio Max\Desktop\NyenrodeLogoFCDiap.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17005" y="6375386"/>
            <a:ext cx="1439540" cy="32170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0621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273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7F98B0-1969-4B0D-B39C-719F77064B57}"/>
              </a:ext>
            </a:extLst>
          </p:cNvPr>
          <p:cNvSpPr/>
          <p:nvPr userDrawn="1"/>
        </p:nvSpPr>
        <p:spPr>
          <a:xfrm>
            <a:off x="0" y="0"/>
            <a:ext cx="12192000" cy="6858000"/>
          </a:xfrm>
          <a:prstGeom prst="rect">
            <a:avLst/>
          </a:prstGeom>
          <a:solidFill>
            <a:schemeClr val="accent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c 2">
            <a:extLst>
              <a:ext uri="{FF2B5EF4-FFF2-40B4-BE49-F238E27FC236}">
                <a16:creationId xmlns:a16="http://schemas.microsoft.com/office/drawing/2014/main" id="{A0175121-4C90-40A9-B147-E4149E5190AE}"/>
              </a:ext>
            </a:extLst>
          </p:cNvPr>
          <p:cNvSpPr/>
          <p:nvPr userDrawn="1"/>
        </p:nvSpPr>
        <p:spPr>
          <a:xfrm>
            <a:off x="8301789" y="-866274"/>
            <a:ext cx="4066673" cy="4066673"/>
          </a:xfrm>
          <a:prstGeom prst="arc">
            <a:avLst>
              <a:gd name="adj1" fmla="val 1409913"/>
              <a:gd name="adj2" fmla="val 12880072"/>
            </a:avLst>
          </a:prstGeom>
          <a:ln w="19050">
            <a:solidFill>
              <a:schemeClr val="bg1">
                <a:alpha val="12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5095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4483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454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931360-7E41-4248-8AEF-AC858AB643B6}"/>
              </a:ext>
            </a:extLst>
          </p:cNvPr>
          <p:cNvSpPr/>
          <p:nvPr userDrawn="1"/>
        </p:nvSpPr>
        <p:spPr>
          <a:xfrm>
            <a:off x="0" y="0"/>
            <a:ext cx="12192000" cy="6858000"/>
          </a:xfrm>
          <a:prstGeom prst="rect">
            <a:avLst/>
          </a:prstGeom>
          <a:gradFill flip="none" rotWithShape="1">
            <a:gsLst>
              <a:gs pos="29000">
                <a:schemeClr val="accent1">
                  <a:lumMod val="5000"/>
                  <a:lumOff val="95000"/>
                  <a:alpha val="0"/>
                </a:schemeClr>
              </a:gs>
              <a:gs pos="66000">
                <a:schemeClr val="accent1">
                  <a:alpha val="58000"/>
                </a:schemeClr>
              </a:gs>
              <a:gs pos="80000">
                <a:schemeClr val="accent1">
                  <a:alpha val="61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31024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7.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vmlDrawing" Target="../drawings/vmlDrawing1.vml"/><Relationship Id="rId7" Type="http://schemas.openxmlformats.org/officeDocument/2006/relationships/image" Target="../media/image9.emf"/><Relationship Id="rId2" Type="http://schemas.openxmlformats.org/officeDocument/2006/relationships/theme" Target="../theme/theme5.xml"/><Relationship Id="rId1" Type="http://schemas.openxmlformats.org/officeDocument/2006/relationships/slideLayout" Target="../slideLayouts/slideLayout22.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046580"/>
      </p:ext>
    </p:extLst>
  </p:cSld>
  <p:clrMap bg1="lt1" tx1="dk1" bg2="lt2" tx2="dk2" accent1="accent1" accent2="accent2" accent3="accent3" accent4="accent4" accent5="accent5" accent6="accent6" hlink="hlink" folHlink="folHlink"/>
  <p:sldLayoutIdLst>
    <p:sldLayoutId id="2147483868" r:id="rId1"/>
    <p:sldLayoutId id="2147483655" r:id="rId2"/>
    <p:sldLayoutId id="2147483767" r:id="rId3"/>
    <p:sldLayoutId id="2147483772" r:id="rId4"/>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174220"/>
      </p:ext>
    </p:extLst>
  </p:cSld>
  <p:clrMap bg1="lt1" tx1="dk1" bg2="lt2" tx2="dk2" accent1="accent1" accent2="accent2" accent3="accent3" accent4="accent4" accent5="accent5" accent6="accent6" hlink="hlink" folHlink="folHlink"/>
  <p:sldLayoutIdLst>
    <p:sldLayoutId id="2147483737" r:id="rId1"/>
    <p:sldLayoutId id="2147483739" r:id="rId2"/>
    <p:sldLayoutId id="2147483736" r:id="rId3"/>
    <p:sldLayoutId id="2147483740" r:id="rId4"/>
    <p:sldLayoutId id="2147483741" r:id="rId5"/>
    <p:sldLayoutId id="2147483742" r:id="rId6"/>
    <p:sldLayoutId id="2147483738" r:id="rId7"/>
    <p:sldLayoutId id="2147483743" r:id="rId8"/>
    <p:sldLayoutId id="2147483866" r:id="rId9"/>
    <p:sldLayoutId id="2147483747" r:id="rId10"/>
    <p:sldLayoutId id="2147483746" r:id="rId11"/>
    <p:sldLayoutId id="2147483744" r:id="rId12"/>
    <p:sldLayoutId id="2147483754" r:id="rId13"/>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5178107"/>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28F2DF75-B27C-5F46-B777-DEB90F6CD353}"/>
              </a:ext>
            </a:extLst>
          </p:cNvPr>
          <p:cNvPicPr>
            <a:picLocks noChangeAspect="1"/>
          </p:cNvPicPr>
          <p:nvPr userDrawn="1"/>
        </p:nvPicPr>
        <p:blipFill>
          <a:blip r:embed="rId5"/>
          <a:stretch>
            <a:fillRect/>
          </a:stretch>
        </p:blipFill>
        <p:spPr>
          <a:xfrm>
            <a:off x="9431264" y="5791069"/>
            <a:ext cx="2760736" cy="1066931"/>
          </a:xfrm>
          <a:prstGeom prst="rect">
            <a:avLst/>
          </a:prstGeom>
        </p:spPr>
      </p:pic>
      <p:sp>
        <p:nvSpPr>
          <p:cNvPr id="11" name="Rechteck 10">
            <a:extLst>
              <a:ext uri="{FF2B5EF4-FFF2-40B4-BE49-F238E27FC236}">
                <a16:creationId xmlns:a16="http://schemas.microsoft.com/office/drawing/2014/main" id="{D2B5F028-C105-4249-BB1F-D36571063884}"/>
              </a:ext>
            </a:extLst>
          </p:cNvPr>
          <p:cNvSpPr/>
          <p:nvPr userDrawn="1"/>
        </p:nvSpPr>
        <p:spPr>
          <a:xfrm>
            <a:off x="11917178" y="6584065"/>
            <a:ext cx="274823" cy="274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1" dirty="0"/>
          </a:p>
        </p:txBody>
      </p:sp>
      <p:sp>
        <p:nvSpPr>
          <p:cNvPr id="26" name="Textfeld 25">
            <a:extLst>
              <a:ext uri="{FF2B5EF4-FFF2-40B4-BE49-F238E27FC236}">
                <a16:creationId xmlns:a16="http://schemas.microsoft.com/office/drawing/2014/main" id="{78018895-8BC9-BC48-85CD-4C29ACFE8C37}"/>
              </a:ext>
            </a:extLst>
          </p:cNvPr>
          <p:cNvSpPr txBox="1"/>
          <p:nvPr userDrawn="1"/>
        </p:nvSpPr>
        <p:spPr>
          <a:xfrm>
            <a:off x="279400" y="6431150"/>
            <a:ext cx="568739" cy="184665"/>
          </a:xfrm>
          <a:prstGeom prst="rect">
            <a:avLst/>
          </a:prstGeom>
          <a:noFill/>
        </p:spPr>
        <p:txBody>
          <a:bodyPr wrap="square" lIns="0" tIns="0" rIns="0" bIns="0" rtlCol="0" anchor="b" anchorCtr="0">
            <a:spAutoFit/>
          </a:bodyPr>
          <a:lstStyle/>
          <a:p>
            <a:fld id="{34B7118E-42A7-CA48-9E0D-8F1D2B95C087}" type="slidenum">
              <a:rPr lang="de-DE" sz="1200" b="0" i="0" smtClean="0">
                <a:latin typeface="Arial" panose="020B0604020202020204" pitchFamily="34" charset="0"/>
                <a:cs typeface="Arial" panose="020B0604020202020204" pitchFamily="34" charset="0"/>
              </a:rPr>
              <a:t>‹nr.›</a:t>
            </a:fld>
            <a:endParaRPr lang="de-DE" sz="1200" b="0" i="0" dirty="0">
              <a:latin typeface="Arial" panose="020B0604020202020204" pitchFamily="34" charset="0"/>
              <a:cs typeface="Arial" panose="020B0604020202020204" pitchFamily="34" charset="0"/>
            </a:endParaRPr>
          </a:p>
        </p:txBody>
      </p:sp>
      <p:sp>
        <p:nvSpPr>
          <p:cNvPr id="27" name="Textfeld 26">
            <a:extLst>
              <a:ext uri="{FF2B5EF4-FFF2-40B4-BE49-F238E27FC236}">
                <a16:creationId xmlns:a16="http://schemas.microsoft.com/office/drawing/2014/main" id="{B0C6C79D-7FCC-9746-A02C-348B617CD7CC}"/>
              </a:ext>
            </a:extLst>
          </p:cNvPr>
          <p:cNvSpPr txBox="1"/>
          <p:nvPr userDrawn="1"/>
        </p:nvSpPr>
        <p:spPr>
          <a:xfrm>
            <a:off x="279400" y="6027740"/>
            <a:ext cx="3535904" cy="184665"/>
          </a:xfrm>
          <a:prstGeom prst="rect">
            <a:avLst/>
          </a:prstGeom>
          <a:noFill/>
        </p:spPr>
        <p:txBody>
          <a:bodyPr wrap="square" lIns="0" tIns="0" rIns="0" bIns="0" rtlCol="0">
            <a:spAutoFit/>
          </a:bodyPr>
          <a:lstStyle/>
          <a:p>
            <a:fld id="{0F0B9051-696F-7446-8A9A-A4B428B4E238}" type="datetime1">
              <a:rPr lang="de-AT" sz="1200" b="1" smtClean="0">
                <a:latin typeface="Arial" panose="020B0604020202020204" pitchFamily="34" charset="0"/>
                <a:cs typeface="Arial" panose="020B0604020202020204" pitchFamily="34" charset="0"/>
              </a:rPr>
              <a:t>15.03.2022</a:t>
            </a:fld>
            <a:endParaRPr lang="de-DE" sz="1200" b="1" dirty="0">
              <a:latin typeface="Arial" panose="020B0604020202020204" pitchFamily="34" charset="0"/>
              <a:cs typeface="Arial" panose="020B0604020202020204" pitchFamily="34" charset="0"/>
            </a:endParaRPr>
          </a:p>
        </p:txBody>
      </p:sp>
      <p:sp>
        <p:nvSpPr>
          <p:cNvPr id="32" name="Titelplatzhalter 31">
            <a:extLst>
              <a:ext uri="{FF2B5EF4-FFF2-40B4-BE49-F238E27FC236}">
                <a16:creationId xmlns:a16="http://schemas.microsoft.com/office/drawing/2014/main" id="{DA0C35B0-06B1-2A4D-962C-13D18A5AD6F9}"/>
              </a:ext>
            </a:extLst>
          </p:cNvPr>
          <p:cNvSpPr>
            <a:spLocks noGrp="1"/>
          </p:cNvSpPr>
          <p:nvPr>
            <p:ph type="title"/>
          </p:nvPr>
        </p:nvSpPr>
        <p:spPr>
          <a:xfrm>
            <a:off x="280375" y="273051"/>
            <a:ext cx="11636804" cy="1489075"/>
          </a:xfrm>
          <a:prstGeom prst="rect">
            <a:avLst/>
          </a:prstGeom>
        </p:spPr>
        <p:txBody>
          <a:bodyPr vert="horz" lIns="0" tIns="0" rIns="0" bIns="0" rtlCol="0" anchor="t" anchorCtr="0">
            <a:normAutofit/>
          </a:bodyPr>
          <a:lstStyle/>
          <a:p>
            <a:r>
              <a:rPr lang="de-DE" dirty="0"/>
              <a:t>HEADLINE 40/44 PT</a:t>
            </a:r>
            <a:br>
              <a:rPr lang="de-DE" dirty="0"/>
            </a:br>
            <a:r>
              <a:rPr lang="de-DE" dirty="0"/>
              <a:t>UPPERCASE</a:t>
            </a:r>
          </a:p>
        </p:txBody>
      </p:sp>
    </p:spTree>
    <p:extLst>
      <p:ext uri="{BB962C8B-B14F-4D97-AF65-F5344CB8AC3E}">
        <p14:creationId xmlns:p14="http://schemas.microsoft.com/office/powerpoint/2010/main" val="3411827817"/>
      </p:ext>
    </p:extLst>
  </p:cSld>
  <p:clrMap bg1="lt1" tx1="dk1" bg2="lt2" tx2="dk2" accent1="accent1" accent2="accent2" accent3="accent3" accent4="accent4" accent5="accent5" accent6="accent6" hlink="hlink" folHlink="folHlink"/>
  <p:sldLayoutIdLst>
    <p:sldLayoutId id="2147483865" r:id="rId1"/>
    <p:sldLayoutId id="2147483867" r:id="rId2"/>
    <p:sldLayoutId id="2147483870" r:id="rId3"/>
  </p:sldLayoutIdLst>
  <p:hf sldNum="0" hdr="0" ftr="0"/>
  <p:txStyles>
    <p:titleStyle>
      <a:lvl1pPr algn="l" defTabSz="685800" rtl="0" eaLnBrk="1" latinLnBrk="0" hangingPunct="1">
        <a:lnSpc>
          <a:spcPts val="33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35" userDrawn="1">
          <p15:clr>
            <a:srgbClr val="F26B43"/>
          </p15:clr>
        </p15:guide>
        <p15:guide id="3" orient="horz" pos="229" userDrawn="1">
          <p15:clr>
            <a:srgbClr val="F26B43"/>
          </p15:clr>
        </p15:guide>
        <p15:guide id="4" pos="10008" userDrawn="1">
          <p15:clr>
            <a:srgbClr val="F26B43"/>
          </p15:clr>
        </p15:guide>
        <p15:guide id="5" orient="horz" pos="5528" userDrawn="1">
          <p15:clr>
            <a:srgbClr val="F26B43"/>
          </p15:clr>
        </p15:guide>
        <p15:guide id="6" orient="horz" pos="5095" userDrawn="1">
          <p15:clr>
            <a:srgbClr val="F26B43"/>
          </p15:clr>
        </p15:guide>
        <p15:guide id="7" pos="524" userDrawn="1">
          <p15:clr>
            <a:srgbClr val="F26B43"/>
          </p15:clr>
        </p15:guide>
        <p15:guide id="8" orient="horz" pos="4867" userDrawn="1">
          <p15:clr>
            <a:srgbClr val="F26B43"/>
          </p15:clr>
        </p15:guide>
        <p15:guide id="9" orient="horz" pos="148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BB17D73-A25E-403E-AB00-1858EBA435B7}"/>
              </a:ext>
            </a:extLst>
          </p:cNvPr>
          <p:cNvGraphicFramePr>
            <a:graphicFrameLocks noChangeAspect="1"/>
          </p:cNvGraphicFramePr>
          <p:nvPr userDrawn="1">
            <p:custDataLst>
              <p:tags r:id="rId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2" name="think-cell Slide" r:id="rId6" imgW="473" imgH="476" progId="TCLayout.ActiveDocument.1">
                  <p:embed/>
                </p:oleObj>
              </mc:Choice>
              <mc:Fallback>
                <p:oleObj name="think-cell Slide" r:id="rId6" imgW="473" imgH="476" progId="TCLayout.ActiveDocument.1">
                  <p:embed/>
                  <p:pic>
                    <p:nvPicPr>
                      <p:cNvPr id="10" name="Object 9" hidden="1">
                        <a:extLst>
                          <a:ext uri="{FF2B5EF4-FFF2-40B4-BE49-F238E27FC236}">
                            <a16:creationId xmlns:a16="http://schemas.microsoft.com/office/drawing/2014/main" id="{BBB17D73-A25E-403E-AB00-1858EBA435B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041337F-4694-4F43-A743-453565C0870C}"/>
              </a:ext>
            </a:extLst>
          </p:cNvPr>
          <p:cNvSpPr/>
          <p:nvPr userDrawn="1">
            <p:custDataLst>
              <p:tags r:id="rId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933" b="1" i="0" baseline="0">
              <a:latin typeface="Open Sans" panose="020B0606030504020204" pitchFamily="34" charset="0"/>
              <a:ea typeface="+mj-ea"/>
              <a:cs typeface="+mj-cs"/>
              <a:sym typeface="Open Sans" panose="020B0606030504020204" pitchFamily="34" charset="0"/>
            </a:endParaRPr>
          </a:p>
        </p:txBody>
      </p:sp>
      <p:sp>
        <p:nvSpPr>
          <p:cNvPr id="3" name="Text Placeholder 2"/>
          <p:cNvSpPr>
            <a:spLocks noGrp="1"/>
          </p:cNvSpPr>
          <p:nvPr>
            <p:ph type="body" idx="1"/>
          </p:nvPr>
        </p:nvSpPr>
        <p:spPr>
          <a:xfrm>
            <a:off x="288000" y="1825626"/>
            <a:ext cx="11629083" cy="189248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2"/>
          </p:nvPr>
        </p:nvSpPr>
        <p:spPr>
          <a:xfrm>
            <a:off x="287867" y="6416118"/>
            <a:ext cx="2743200" cy="365125"/>
          </a:xfrm>
          <a:prstGeom prst="rect">
            <a:avLst/>
          </a:prstGeom>
        </p:spPr>
        <p:txBody>
          <a:bodyPr vert="horz" lIns="0" tIns="0" rIns="0" bIns="0" rtlCol="0" anchor="t" anchorCtr="0"/>
          <a:lstStyle>
            <a:lvl1pPr algn="l">
              <a:defRPr sz="1067" b="0" i="0">
                <a:solidFill>
                  <a:schemeClr val="tx1"/>
                </a:solidFill>
                <a:latin typeface="+mn-lt"/>
                <a:ea typeface="Open Sans" charset="0"/>
                <a:cs typeface="Open Sans" charset="0"/>
              </a:defRPr>
            </a:lvl1pPr>
          </a:lstStyle>
          <a:p>
            <a:r>
              <a:rPr lang="nl-NL"/>
              <a:t>08-06-21</a:t>
            </a:r>
            <a:endParaRPr lang="de-DE"/>
          </a:p>
        </p:txBody>
      </p:sp>
      <p:sp>
        <p:nvSpPr>
          <p:cNvPr id="6" name="Slide Number Placeholder 5"/>
          <p:cNvSpPr>
            <a:spLocks noGrp="1"/>
          </p:cNvSpPr>
          <p:nvPr>
            <p:ph type="sldNum" sz="quarter" idx="4"/>
          </p:nvPr>
        </p:nvSpPr>
        <p:spPr>
          <a:xfrm>
            <a:off x="9160933" y="6416118"/>
            <a:ext cx="2743200" cy="365125"/>
          </a:xfrm>
          <a:prstGeom prst="rect">
            <a:avLst/>
          </a:prstGeom>
        </p:spPr>
        <p:txBody>
          <a:bodyPr vert="horz" lIns="0" tIns="0" rIns="0" bIns="0" rtlCol="0" anchor="t" anchorCtr="0"/>
          <a:lstStyle>
            <a:lvl1pPr algn="r">
              <a:defRPr sz="1067" b="1" i="0">
                <a:solidFill>
                  <a:schemeClr val="tx1"/>
                </a:solidFill>
                <a:latin typeface="+mn-lt"/>
                <a:ea typeface="Open Sans" charset="0"/>
                <a:cs typeface="Open Sans" charset="0"/>
              </a:defRPr>
            </a:lvl1pPr>
          </a:lstStyle>
          <a:p>
            <a:fld id="{B60C4007-1C36-BD4C-B7E8-11061F6EFA14}" type="slidenum">
              <a:rPr lang="de-DE" smtClean="0"/>
              <a:pPr/>
              <a:t>‹nr.›</a:t>
            </a:fld>
            <a:endParaRPr lang="de-DE"/>
          </a:p>
        </p:txBody>
      </p:sp>
      <p:cxnSp>
        <p:nvCxnSpPr>
          <p:cNvPr id="8" name="Gerader Verbinder 15">
            <a:extLst>
              <a:ext uri="{FF2B5EF4-FFF2-40B4-BE49-F238E27FC236}">
                <a16:creationId xmlns:a16="http://schemas.microsoft.com/office/drawing/2014/main" id="{1C6D7340-1D75-4A4D-AE32-9007093F38EF}"/>
              </a:ext>
            </a:extLst>
          </p:cNvPr>
          <p:cNvCxnSpPr>
            <a:cxnSpLocks/>
          </p:cNvCxnSpPr>
          <p:nvPr userDrawn="1"/>
        </p:nvCxnSpPr>
        <p:spPr bwMode="ltGray">
          <a:xfrm>
            <a:off x="287867" y="1243200"/>
            <a:ext cx="527424" cy="0"/>
          </a:xfrm>
          <a:prstGeom prst="line">
            <a:avLst/>
          </a:prstGeom>
          <a:ln w="22225">
            <a:solidFill>
              <a:srgbClr val="003087"/>
            </a:solidFill>
          </a:ln>
        </p:spPr>
        <p:style>
          <a:lnRef idx="1">
            <a:schemeClr val="accent6"/>
          </a:lnRef>
          <a:fillRef idx="0">
            <a:schemeClr val="accent6"/>
          </a:fillRef>
          <a:effectRef idx="0">
            <a:schemeClr val="accent6"/>
          </a:effectRef>
          <a:fontRef idx="minor">
            <a:schemeClr val="tx1"/>
          </a:fontRef>
        </p:style>
      </p:cxnSp>
      <p:sp>
        <p:nvSpPr>
          <p:cNvPr id="2" name="Titelplatzhalter 1"/>
          <p:cNvSpPr>
            <a:spLocks noGrp="1"/>
          </p:cNvSpPr>
          <p:nvPr>
            <p:ph type="title"/>
          </p:nvPr>
        </p:nvSpPr>
        <p:spPr>
          <a:xfrm>
            <a:off x="288000" y="307200"/>
            <a:ext cx="8880000" cy="820800"/>
          </a:xfrm>
          <a:prstGeom prst="rect">
            <a:avLst/>
          </a:prstGeom>
        </p:spPr>
        <p:txBody>
          <a:bodyPr vert="horz" lIns="0" tIns="0" rIns="0" bIns="0" rtlCol="0" anchor="b" anchorCtr="0">
            <a:noAutofit/>
          </a:bodyPr>
          <a:lstStyle/>
          <a:p>
            <a:pPr>
              <a:lnSpc>
                <a:spcPts val="3200"/>
              </a:lnSpc>
            </a:pPr>
            <a:r>
              <a:rPr lang="de-DE"/>
              <a:t>Mastertitelformat bearbeiten</a:t>
            </a:r>
            <a:endParaRPr lang="en-US" sz="2933" b="1">
              <a:latin typeface="Open Sans" charset="0"/>
              <a:ea typeface="Open Sans" charset="0"/>
              <a:cs typeface="Open Sans" charset="0"/>
            </a:endParaRPr>
          </a:p>
        </p:txBody>
      </p:sp>
      <p:sp>
        <p:nvSpPr>
          <p:cNvPr id="5" name="Fußzeilenplatzhalter 4">
            <a:extLst>
              <a:ext uri="{FF2B5EF4-FFF2-40B4-BE49-F238E27FC236}">
                <a16:creationId xmlns:a16="http://schemas.microsoft.com/office/drawing/2014/main" id="{E9CEA81A-5756-B944-835D-35733A887E66}"/>
              </a:ext>
            </a:extLst>
          </p:cNvPr>
          <p:cNvSpPr>
            <a:spLocks noGrp="1"/>
          </p:cNvSpPr>
          <p:nvPr>
            <p:ph type="ftr" sz="quarter" idx="3"/>
          </p:nvPr>
        </p:nvSpPr>
        <p:spPr>
          <a:xfrm>
            <a:off x="4038600" y="6416118"/>
            <a:ext cx="4114800" cy="366183"/>
          </a:xfrm>
          <a:prstGeom prst="rect">
            <a:avLst/>
          </a:prstGeom>
        </p:spPr>
        <p:txBody>
          <a:bodyPr vert="horz" lIns="0" tIns="0" rIns="0" bIns="0" rtlCol="0" anchor="t" anchorCtr="0"/>
          <a:lstStyle>
            <a:lvl1pPr algn="ctr">
              <a:defRPr sz="1067" baseline="0">
                <a:solidFill>
                  <a:schemeClr val="tx1"/>
                </a:solidFill>
                <a:latin typeface="+mn-lt"/>
                <a:ea typeface="Open Sans" panose="020B0606030504020204" pitchFamily="34" charset="0"/>
                <a:cs typeface="Open Sans" panose="020B0606030504020204" pitchFamily="34" charset="0"/>
              </a:defRPr>
            </a:lvl1pPr>
          </a:lstStyle>
          <a:p>
            <a:r>
              <a:rPr lang="en-US"/>
              <a:t>&gt;Fresh Water Solutions&lt; </a:t>
            </a:r>
            <a:endParaRPr lang="de-DE"/>
          </a:p>
        </p:txBody>
      </p:sp>
      <p:pic>
        <p:nvPicPr>
          <p:cNvPr id="11" name="Grafik 6">
            <a:extLst>
              <a:ext uri="{FF2B5EF4-FFF2-40B4-BE49-F238E27FC236}">
                <a16:creationId xmlns:a16="http://schemas.microsoft.com/office/drawing/2014/main" id="{77E4B6BC-2189-421A-842D-64504B2F3A7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338691" y="677185"/>
            <a:ext cx="1565443" cy="247681"/>
          </a:xfrm>
          <a:prstGeom prst="rect">
            <a:avLst/>
          </a:prstGeom>
        </p:spPr>
      </p:pic>
      <p:pic>
        <p:nvPicPr>
          <p:cNvPr id="12" name="Picture 11">
            <a:extLst>
              <a:ext uri="{FF2B5EF4-FFF2-40B4-BE49-F238E27FC236}">
                <a16:creationId xmlns:a16="http://schemas.microsoft.com/office/drawing/2014/main" id="{BF1989A5-28FC-4157-B7B0-F8E5254C753B}"/>
              </a:ext>
            </a:extLst>
          </p:cNvPr>
          <p:cNvPicPr>
            <a:picLocks noChangeAspect="1"/>
          </p:cNvPicPr>
          <p:nvPr userDrawn="1"/>
        </p:nvPicPr>
        <p:blipFill>
          <a:blip r:embed="rId9"/>
          <a:stretch>
            <a:fillRect/>
          </a:stretch>
        </p:blipFill>
        <p:spPr>
          <a:xfrm>
            <a:off x="10364448" y="987188"/>
            <a:ext cx="1138841" cy="151203"/>
          </a:xfrm>
          <a:prstGeom prst="rect">
            <a:avLst/>
          </a:prstGeom>
        </p:spPr>
      </p:pic>
    </p:spTree>
    <p:extLst>
      <p:ext uri="{BB962C8B-B14F-4D97-AF65-F5344CB8AC3E}">
        <p14:creationId xmlns:p14="http://schemas.microsoft.com/office/powerpoint/2010/main" val="2097549478"/>
      </p:ext>
    </p:extLst>
  </p:cSld>
  <p:clrMap bg1="lt1" tx1="dk1" bg2="lt2" tx2="dk2" accent1="accent1" accent2="accent2" accent3="accent3" accent4="accent4" accent5="accent5" accent6="accent6" hlink="hlink" folHlink="folHlink"/>
  <p:sldLayoutIdLst>
    <p:sldLayoutId id="2147483745" r:id="rId1"/>
  </p:sldLayoutIdLst>
  <p:hf hdr="0"/>
  <p:txStyles>
    <p:titleStyle>
      <a:lvl1pPr algn="l" defTabSz="685800" rtl="0" eaLnBrk="1" latinLnBrk="0" hangingPunct="1">
        <a:lnSpc>
          <a:spcPct val="90000"/>
        </a:lnSpc>
        <a:spcBef>
          <a:spcPct val="0"/>
        </a:spcBef>
        <a:buNone/>
        <a:defRPr sz="2200" b="1" i="0" kern="1200" baseline="0">
          <a:solidFill>
            <a:schemeClr val="tx1"/>
          </a:solidFill>
          <a:latin typeface="+mj-lt"/>
          <a:ea typeface="+mj-ea"/>
          <a:cs typeface="+mj-cs"/>
        </a:defRPr>
      </a:lvl1pPr>
    </p:titleStyle>
    <p:bodyStyle>
      <a:lvl1pPr marL="179388" indent="-179388" algn="l" defTabSz="685800" rtl="0" eaLnBrk="1" latinLnBrk="0" hangingPunct="1">
        <a:lnSpc>
          <a:spcPts val="1850"/>
        </a:lnSpc>
        <a:spcBef>
          <a:spcPts val="0"/>
        </a:spcBef>
        <a:spcAft>
          <a:spcPts val="400"/>
        </a:spcAft>
        <a:buClr>
          <a:srgbClr val="003087"/>
        </a:buClr>
        <a:buSzPct val="140000"/>
        <a:buFont typeface="Open Sans" panose="020B0606030504020204" pitchFamily="34" charset="0"/>
        <a:buChar char="›"/>
        <a:tabLst/>
        <a:defRPr sz="1600" kern="1200" baseline="0">
          <a:solidFill>
            <a:schemeClr val="tx1"/>
          </a:solidFill>
          <a:latin typeface="+mn-lt"/>
          <a:ea typeface="Open Sans" charset="0"/>
          <a:cs typeface="Open Sans" charset="0"/>
        </a:defRPr>
      </a:lvl1pPr>
      <a:lvl2pPr marL="358775" indent="-179388" algn="l" defTabSz="685800" rtl="0" eaLnBrk="1" latinLnBrk="0" hangingPunct="1">
        <a:lnSpc>
          <a:spcPts val="1650"/>
        </a:lnSpc>
        <a:spcBef>
          <a:spcPts val="0"/>
        </a:spcBef>
        <a:spcAft>
          <a:spcPts val="400"/>
        </a:spcAft>
        <a:buClr>
          <a:srgbClr val="003087"/>
        </a:buClr>
        <a:buSzPct val="140000"/>
        <a:buFont typeface="Open Sans" panose="020B0606030504020204" pitchFamily="34" charset="0"/>
        <a:buChar char="›"/>
        <a:tabLst/>
        <a:defRPr sz="1400" kern="1200" baseline="0">
          <a:solidFill>
            <a:schemeClr val="tx1"/>
          </a:solidFill>
          <a:latin typeface="+mn-lt"/>
          <a:ea typeface="Open Sans" charset="0"/>
          <a:cs typeface="Open Sans" charset="0"/>
        </a:defRPr>
      </a:lvl2pPr>
      <a:lvl3pPr marL="539750" indent="-179388" algn="l" defTabSz="685800" rtl="0" eaLnBrk="1" latinLnBrk="0" hangingPunct="1">
        <a:lnSpc>
          <a:spcPts val="1450"/>
        </a:lnSpc>
        <a:spcBef>
          <a:spcPts val="0"/>
        </a:spcBef>
        <a:spcAft>
          <a:spcPts val="400"/>
        </a:spcAft>
        <a:buClr>
          <a:srgbClr val="003087"/>
        </a:buClr>
        <a:buSzPct val="140000"/>
        <a:buFont typeface="Open Sans" panose="020B0606030504020204" pitchFamily="34" charset="0"/>
        <a:buChar char="›"/>
        <a:tabLst/>
        <a:defRPr sz="1200" kern="1200" baseline="0">
          <a:solidFill>
            <a:schemeClr val="tx1"/>
          </a:solidFill>
          <a:latin typeface="+mn-lt"/>
          <a:ea typeface="Open Sans" charset="0"/>
          <a:cs typeface="Open Sans" charset="0"/>
        </a:defRPr>
      </a:lvl3pPr>
      <a:lvl4pPr marL="720000" indent="-180000" algn="l" defTabSz="685800" rtl="0" eaLnBrk="1" latinLnBrk="0" hangingPunct="1">
        <a:lnSpc>
          <a:spcPts val="1250"/>
        </a:lnSpc>
        <a:spcBef>
          <a:spcPts val="0"/>
        </a:spcBef>
        <a:spcAft>
          <a:spcPts val="400"/>
        </a:spcAft>
        <a:buClr>
          <a:srgbClr val="003087"/>
        </a:buClr>
        <a:buSzPct val="140000"/>
        <a:buFont typeface="Open Sans" panose="020B0606030504020204" pitchFamily="34" charset="0"/>
        <a:buChar char="›"/>
        <a:tabLst/>
        <a:defRPr sz="1000" kern="1200" baseline="0">
          <a:solidFill>
            <a:schemeClr val="tx1"/>
          </a:solidFill>
          <a:latin typeface="+mn-lt"/>
          <a:ea typeface="Open Sans" charset="0"/>
          <a:cs typeface="Open Sans" charset="0"/>
        </a:defRPr>
      </a:lvl4pPr>
      <a:lvl5pPr marL="900000" indent="-180000" algn="l" defTabSz="685800" rtl="0" eaLnBrk="1" latinLnBrk="0" hangingPunct="1">
        <a:lnSpc>
          <a:spcPts val="1150"/>
        </a:lnSpc>
        <a:spcBef>
          <a:spcPts val="0"/>
        </a:spcBef>
        <a:spcAft>
          <a:spcPts val="400"/>
        </a:spcAft>
        <a:buClr>
          <a:srgbClr val="003087"/>
        </a:buClr>
        <a:buSzPct val="140000"/>
        <a:buFont typeface="Open Sans" panose="020B0606030504020204" pitchFamily="34" charset="0"/>
        <a:buChar char="›"/>
        <a:tabLst/>
        <a:defRPr sz="900" kern="1200" baseline="0">
          <a:solidFill>
            <a:schemeClr val="tx1"/>
          </a:solidFill>
          <a:latin typeface="+mn-lt"/>
          <a:ea typeface="Open Sans" charset="0"/>
          <a:cs typeface="Open Sans"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63" userDrawn="1">
          <p15:clr>
            <a:srgbClr val="F26B43"/>
          </p15:clr>
        </p15:guide>
        <p15:guide id="2" pos="3840" userDrawn="1">
          <p15:clr>
            <a:srgbClr val="F26B43"/>
          </p15:clr>
        </p15:guide>
        <p15:guide id="3" pos="7499" userDrawn="1">
          <p15:clr>
            <a:srgbClr val="F26B43"/>
          </p15:clr>
        </p15:guide>
        <p15:guide id="5" orient="horz" pos="4125" userDrawn="1">
          <p15:clr>
            <a:srgbClr val="F26B43"/>
          </p15:clr>
        </p15:guide>
        <p15:guide id="6" orient="horz" pos="3157" userDrawn="1">
          <p15:clr>
            <a:srgbClr val="F26B43"/>
          </p15:clr>
        </p15:guide>
        <p15:guide id="7" orient="horz" pos="3400" userDrawn="1">
          <p15:clr>
            <a:srgbClr val="F26B43"/>
          </p15:clr>
        </p15:guide>
        <p15:guide id="8" orient="horz" pos="1495" userDrawn="1">
          <p15:clr>
            <a:srgbClr val="F26B43"/>
          </p15:clr>
        </p15:guide>
        <p15:guide id="9" pos="181" userDrawn="1">
          <p15:clr>
            <a:srgbClr val="F26B43"/>
          </p15:clr>
        </p15:guide>
        <p15:guide id="10" pos="3780" userDrawn="1">
          <p15:clr>
            <a:srgbClr val="F26B43"/>
          </p15:clr>
        </p15:guide>
        <p15:guide id="11" pos="39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microsoft.com/office/2007/relationships/hdphoto" Target="../media/hdphoto1.wdp"/><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19.xml"/><Relationship Id="rId5" Type="http://schemas.openxmlformats.org/officeDocument/2006/relationships/image" Target="../media/image15.jpeg"/><Relationship Id="rId4" Type="http://schemas.openxmlformats.org/officeDocument/2006/relationships/image" Target="../media/image14.jpe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3.xml.rels><?xml version="1.0" encoding="UTF-8" standalone="yes"?>
<Relationships xmlns="http://schemas.openxmlformats.org/package/2006/relationships"><Relationship Id="rId3" Type="http://schemas.openxmlformats.org/officeDocument/2006/relationships/image" Target="../media/image32.jp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20.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jpg"/></Relationships>
</file>

<file path=ppt/slides/_rels/slide2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hyperlink" Target="mailto:Jorien.loots@pipelife.com" TargetMode="External"/><Relationship Id="rId2" Type="http://schemas.openxmlformats.org/officeDocument/2006/relationships/image" Target="../media/image20.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hyperlink" Target="https://benem.nl/informatie/meerlagenbuis/radopress.html" TargetMode="External"/><Relationship Id="rId2" Type="http://schemas.openxmlformats.org/officeDocument/2006/relationships/image" Target="../media/image16.jpeg"/><Relationship Id="rId1" Type="http://schemas.openxmlformats.org/officeDocument/2006/relationships/slideLayout" Target="../slideLayouts/slideLayout20.xml"/><Relationship Id="rId6" Type="http://schemas.openxmlformats.org/officeDocument/2006/relationships/image" Target="../media/image19.jpeg"/><Relationship Id="rId5" Type="http://schemas.openxmlformats.org/officeDocument/2006/relationships/hyperlink" Target="https://www.organisatievragen.nl/nyenrode-logo/" TargetMode="External"/><Relationship Id="rId4" Type="http://schemas.openxmlformats.org/officeDocument/2006/relationships/image" Target="../media/image18.jpg"/></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jpeg"/><Relationship Id="rId1" Type="http://schemas.openxmlformats.org/officeDocument/2006/relationships/slideLayout" Target="../slideLayouts/slideLayout3.xml"/><Relationship Id="rId6" Type="http://schemas.openxmlformats.org/officeDocument/2006/relationships/hyperlink" Target="https://benem.nl/informatie/meerlagenbuis/radopress.html" TargetMode="External"/><Relationship Id="rId5" Type="http://schemas.openxmlformats.org/officeDocument/2006/relationships/image" Target="../media/image21.jpe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4.jpeg"/><Relationship Id="rId7"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5.jpeg"/><Relationship Id="rId5" Type="http://schemas.openxmlformats.org/officeDocument/2006/relationships/image" Target="../media/image22.jpeg"/><Relationship Id="rId4" Type="http://schemas.openxmlformats.org/officeDocument/2006/relationships/image" Target="../media/image13.jpeg"/><Relationship Id="rId9" Type="http://schemas.openxmlformats.org/officeDocument/2006/relationships/hyperlink" Target="https://benem.nl/informatie/meerlagenbuis/radopress.html"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image" Target="../media/image15.jpeg"/><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pic>
        <p:nvPicPr>
          <p:cNvPr id="7" name="Google Shape;232;p1" descr="A group of people walking in a park&#10;&#10;Description automatically generated">
            <a:extLst>
              <a:ext uri="{FF2B5EF4-FFF2-40B4-BE49-F238E27FC236}">
                <a16:creationId xmlns:a16="http://schemas.microsoft.com/office/drawing/2014/main" id="{9066C4BE-4A85-B843-B291-C805BDBC1ECA}"/>
              </a:ext>
            </a:extLst>
          </p:cNvPr>
          <p:cNvPicPr preferRelativeResize="0"/>
          <p:nvPr/>
        </p:nvPicPr>
        <p:blipFill rotWithShape="1">
          <a:blip r:embed="rId3">
            <a:alphaModFix/>
          </a:blip>
          <a:srcRect l="-11" t="12178" r="-2631" b="2865"/>
          <a:stretch/>
        </p:blipFill>
        <p:spPr>
          <a:xfrm>
            <a:off x="0" y="-40640"/>
            <a:ext cx="12496800" cy="5801360"/>
          </a:xfrm>
          <a:prstGeom prst="rect">
            <a:avLst/>
          </a:prstGeom>
          <a:noFill/>
          <a:ln>
            <a:noFill/>
          </a:ln>
        </p:spPr>
      </p:pic>
      <p:sp>
        <p:nvSpPr>
          <p:cNvPr id="3" name="Tekstvak 2">
            <a:extLst>
              <a:ext uri="{FF2B5EF4-FFF2-40B4-BE49-F238E27FC236}">
                <a16:creationId xmlns:a16="http://schemas.microsoft.com/office/drawing/2014/main" id="{593CEE6E-3124-4A74-85CA-2216D9D77671}"/>
              </a:ext>
            </a:extLst>
          </p:cNvPr>
          <p:cNvSpPr txBox="1"/>
          <p:nvPr/>
        </p:nvSpPr>
        <p:spPr>
          <a:xfrm>
            <a:off x="335280" y="2860040"/>
            <a:ext cx="9865360" cy="3416320"/>
          </a:xfrm>
          <a:prstGeom prst="rect">
            <a:avLst/>
          </a:prstGeom>
          <a:noFill/>
        </p:spPr>
        <p:txBody>
          <a:bodyPr wrap="square" rtlCol="0">
            <a:spAutoFit/>
          </a:bodyPr>
          <a:lstStyle/>
          <a:p>
            <a:endParaRPr lang="nl-NL" sz="4000" b="1" dirty="0">
              <a:solidFill>
                <a:schemeClr val="bg1"/>
              </a:solidFill>
              <a:latin typeface="Arial" panose="020B0604020202020204" pitchFamily="34" charset="0"/>
              <a:cs typeface="Arial" panose="020B0604020202020204" pitchFamily="34" charset="0"/>
            </a:endParaRPr>
          </a:p>
          <a:p>
            <a:endParaRPr lang="nl-NL" sz="4000" dirty="0">
              <a:solidFill>
                <a:schemeClr val="bg1"/>
              </a:solidFill>
              <a:latin typeface="Arial" panose="020B0604020202020204" pitchFamily="34" charset="0"/>
              <a:cs typeface="Arial" panose="020B0604020202020204" pitchFamily="34" charset="0"/>
            </a:endParaRPr>
          </a:p>
          <a:p>
            <a:r>
              <a:rPr lang="nl-NL" sz="3600" dirty="0">
                <a:solidFill>
                  <a:schemeClr val="bg1"/>
                </a:solidFill>
                <a:latin typeface="Arial" panose="020B0604020202020204" pitchFamily="34" charset="0"/>
                <a:cs typeface="Arial" panose="020B0604020202020204" pitchFamily="34" charset="0"/>
              </a:rPr>
              <a:t>“Samenwerkend naar de toekomst”</a:t>
            </a:r>
          </a:p>
          <a:p>
            <a:r>
              <a:rPr lang="nl-NL" sz="2800" dirty="0">
                <a:solidFill>
                  <a:schemeClr val="bg1"/>
                </a:solidFill>
                <a:latin typeface="Arial" panose="020B0604020202020204" pitchFamily="34" charset="0"/>
                <a:cs typeface="Arial" panose="020B0604020202020204" pitchFamily="34" charset="0"/>
              </a:rPr>
              <a:t>Van waardeketen naar </a:t>
            </a:r>
            <a:r>
              <a:rPr lang="nl-NL" sz="2800" dirty="0" err="1">
                <a:solidFill>
                  <a:schemeClr val="bg1"/>
                </a:solidFill>
                <a:latin typeface="Arial" panose="020B0604020202020204" pitchFamily="34" charset="0"/>
                <a:cs typeface="Arial" panose="020B0604020202020204" pitchFamily="34" charset="0"/>
              </a:rPr>
              <a:t>eco-systeem</a:t>
            </a:r>
            <a:endParaRPr lang="nl-NL" sz="2800" dirty="0">
              <a:solidFill>
                <a:schemeClr val="bg1"/>
              </a:solidFill>
              <a:latin typeface="Arial" panose="020B0604020202020204" pitchFamily="34" charset="0"/>
              <a:cs typeface="Arial" panose="020B0604020202020204" pitchFamily="34" charset="0"/>
            </a:endParaRPr>
          </a:p>
          <a:p>
            <a:r>
              <a:rPr lang="nl-NL" sz="2800" dirty="0">
                <a:solidFill>
                  <a:schemeClr val="bg1"/>
                </a:solidFill>
                <a:latin typeface="Arial" panose="020B0604020202020204" pitchFamily="34" charset="0"/>
                <a:cs typeface="Arial" panose="020B0604020202020204" pitchFamily="34" charset="0"/>
              </a:rPr>
              <a:t>Door Jorien Loots  </a:t>
            </a:r>
          </a:p>
          <a:p>
            <a:endParaRPr lang="nl-NL" sz="4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9201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sp>
        <p:nvSpPr>
          <p:cNvPr id="190" name="Google Shape;190;p31"/>
          <p:cNvSpPr txBox="1">
            <a:spLocks noGrp="1"/>
          </p:cNvSpPr>
          <p:nvPr>
            <p:ph type="title"/>
          </p:nvPr>
        </p:nvSpPr>
        <p:spPr>
          <a:xfrm>
            <a:off x="2694333" y="207300"/>
            <a:ext cx="9250800" cy="1706000"/>
          </a:xfrm>
          <a:prstGeom prst="rect">
            <a:avLst/>
          </a:prstGeom>
          <a:noFill/>
          <a:ln>
            <a:noFill/>
          </a:ln>
        </p:spPr>
        <p:txBody>
          <a:bodyPr spcFirstLastPara="1" wrap="square" lIns="121900" tIns="121900" rIns="121900" bIns="121900" anchor="ctr" anchorCtr="0">
            <a:noAutofit/>
          </a:bodyPr>
          <a:lstStyle/>
          <a:p>
            <a:pPr>
              <a:spcBef>
                <a:spcPts val="0"/>
              </a:spcBef>
            </a:pPr>
            <a:r>
              <a:rPr lang="nl" sz="5400" b="1" dirty="0">
                <a:solidFill>
                  <a:schemeClr val="tx2"/>
                </a:solidFill>
                <a:ea typeface="Poppins"/>
                <a:cs typeface="Poppins"/>
                <a:sym typeface="Poppins"/>
              </a:rPr>
              <a:t>Uitdagingen watersector.</a:t>
            </a:r>
            <a:endParaRPr sz="5400" b="1" dirty="0">
              <a:solidFill>
                <a:schemeClr val="tx2"/>
              </a:solidFill>
              <a:ea typeface="Poppins"/>
              <a:cs typeface="Poppins"/>
              <a:sym typeface="Poppins"/>
            </a:endParaRPr>
          </a:p>
        </p:txBody>
      </p:sp>
      <p:sp>
        <p:nvSpPr>
          <p:cNvPr id="191" name="Google Shape;191;p31"/>
          <p:cNvSpPr txBox="1"/>
          <p:nvPr/>
        </p:nvSpPr>
        <p:spPr>
          <a:xfrm>
            <a:off x="2562362" y="1999511"/>
            <a:ext cx="7604800" cy="3979200"/>
          </a:xfrm>
          <a:prstGeom prst="rect">
            <a:avLst/>
          </a:prstGeom>
          <a:noFill/>
          <a:ln>
            <a:noFill/>
          </a:ln>
        </p:spPr>
        <p:txBody>
          <a:bodyPr spcFirstLastPara="1" wrap="square" lIns="121900" tIns="121900" rIns="121900" bIns="121900" anchor="t" anchorCtr="0">
            <a:noAutofit/>
          </a:bodyPr>
          <a:lstStyle/>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Groeiende bevolking</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Klimaatverandering en weersextremen</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Mondigere klanten</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Verouderde infrastructuren</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Digitalisering en automatisering</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Tekort aan en verouderend personeel</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Duurzaamheid</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Financiële druk vanuit klanten en overheid</a:t>
            </a:r>
            <a:endParaRPr sz="2800" dirty="0">
              <a:solidFill>
                <a:schemeClr val="tx2"/>
              </a:solidFill>
              <a:latin typeface="+mj-lt"/>
              <a:ea typeface="Poppins"/>
              <a:cs typeface="Poppins"/>
              <a:sym typeface="Poppins"/>
            </a:endParaRPr>
          </a:p>
          <a:p>
            <a:endParaRPr sz="1600" dirty="0">
              <a:solidFill>
                <a:schemeClr val="tx2"/>
              </a:solidFill>
              <a:latin typeface="+mj-lt"/>
              <a:ea typeface="Poppins"/>
              <a:cs typeface="Poppins"/>
              <a:sym typeface="Poppins"/>
            </a:endParaRPr>
          </a:p>
          <a:p>
            <a:pPr marL="1219170"/>
            <a:endParaRPr sz="1600" dirty="0">
              <a:solidFill>
                <a:schemeClr val="tx2"/>
              </a:solidFill>
              <a:latin typeface="+mj-lt"/>
              <a:ea typeface="Poppins"/>
              <a:cs typeface="Poppins"/>
              <a:sym typeface="Poppins"/>
            </a:endParaRPr>
          </a:p>
        </p:txBody>
      </p:sp>
      <p:pic>
        <p:nvPicPr>
          <p:cNvPr id="192" name="Google Shape;192;p31"/>
          <p:cNvPicPr preferRelativeResize="0"/>
          <p:nvPr/>
        </p:nvPicPr>
        <p:blipFill>
          <a:blip r:embed="rId3">
            <a:alphaModFix/>
          </a:blip>
          <a:stretch>
            <a:fillRect/>
          </a:stretch>
        </p:blipFill>
        <p:spPr>
          <a:xfrm>
            <a:off x="0" y="-152700"/>
            <a:ext cx="2734835" cy="829567"/>
          </a:xfrm>
          <a:prstGeom prst="rect">
            <a:avLst/>
          </a:prstGeom>
          <a:noFill/>
          <a:ln>
            <a:noFill/>
          </a:ln>
        </p:spPr>
      </p:pic>
      <p:sp>
        <p:nvSpPr>
          <p:cNvPr id="193" name="Google Shape;193;p31"/>
          <p:cNvSpPr txBox="1">
            <a:spLocks noGrp="1"/>
          </p:cNvSpPr>
          <p:nvPr>
            <p:ph type="sldNum" idx="12"/>
          </p:nvPr>
        </p:nvSpPr>
        <p:spPr>
          <a:xfrm>
            <a:off x="11296611" y="6064923"/>
            <a:ext cx="731600" cy="524800"/>
          </a:xfrm>
          <a:prstGeom prst="rect">
            <a:avLst/>
          </a:prstGeom>
        </p:spPr>
        <p:txBody>
          <a:bodyPr spcFirstLastPara="1" wrap="square" lIns="121900" tIns="121900" rIns="121900" bIns="121900" anchor="ctr" anchorCtr="0">
            <a:noAutofit/>
          </a:bodyPr>
          <a:lstStyle/>
          <a:p>
            <a:pPr algn="r"/>
            <a:fld id="{00000000-1234-1234-1234-123412341234}" type="slidenum">
              <a:rPr lang="nl" sz="1600">
                <a:solidFill>
                  <a:schemeClr val="tx2"/>
                </a:solidFill>
                <a:latin typeface="+mj-lt"/>
              </a:rPr>
              <a:pPr algn="r"/>
              <a:t>10</a:t>
            </a:fld>
            <a:endParaRPr sz="1600">
              <a:solidFill>
                <a:schemeClr val="tx2"/>
              </a:solidFill>
              <a:latin typeface="+mj-lt"/>
            </a:endParaRPr>
          </a:p>
        </p:txBody>
      </p:sp>
      <p:pic>
        <p:nvPicPr>
          <p:cNvPr id="194" name="Google Shape;194;p31"/>
          <p:cNvPicPr preferRelativeResize="0"/>
          <p:nvPr/>
        </p:nvPicPr>
        <p:blipFill rotWithShape="1">
          <a:blip r:embed="rId4">
            <a:alphaModFix/>
          </a:blip>
          <a:srcRect l="10107" t="15850" r="77983" b="68277"/>
          <a:stretch/>
        </p:blipFill>
        <p:spPr>
          <a:xfrm>
            <a:off x="383867" y="1236367"/>
            <a:ext cx="1369435" cy="1024032"/>
          </a:xfrm>
          <a:prstGeom prst="rect">
            <a:avLst/>
          </a:prstGeom>
          <a:noFill/>
          <a:ln>
            <a:noFill/>
          </a:ln>
        </p:spPr>
      </p:pic>
      <p:pic>
        <p:nvPicPr>
          <p:cNvPr id="195" name="Google Shape;195;p31"/>
          <p:cNvPicPr preferRelativeResize="0"/>
          <p:nvPr/>
        </p:nvPicPr>
        <p:blipFill rotWithShape="1">
          <a:blip r:embed="rId4">
            <a:alphaModFix/>
          </a:blip>
          <a:srcRect l="43962" t="16507" r="44128" b="68809"/>
          <a:stretch/>
        </p:blipFill>
        <p:spPr>
          <a:xfrm>
            <a:off x="10292976" y="1390066"/>
            <a:ext cx="1369435" cy="947233"/>
          </a:xfrm>
          <a:prstGeom prst="rect">
            <a:avLst/>
          </a:prstGeom>
          <a:noFill/>
          <a:ln>
            <a:noFill/>
          </a:ln>
        </p:spPr>
      </p:pic>
      <p:pic>
        <p:nvPicPr>
          <p:cNvPr id="196" name="Google Shape;196;p31"/>
          <p:cNvPicPr preferRelativeResize="0"/>
          <p:nvPr/>
        </p:nvPicPr>
        <p:blipFill rotWithShape="1">
          <a:blip r:embed="rId4">
            <a:alphaModFix/>
          </a:blip>
          <a:srcRect l="77816" t="15322" r="9500" b="66639"/>
          <a:stretch/>
        </p:blipFill>
        <p:spPr>
          <a:xfrm>
            <a:off x="294799" y="2592485"/>
            <a:ext cx="1458500" cy="1163700"/>
          </a:xfrm>
          <a:prstGeom prst="rect">
            <a:avLst/>
          </a:prstGeom>
          <a:noFill/>
          <a:ln>
            <a:noFill/>
          </a:ln>
        </p:spPr>
      </p:pic>
      <p:pic>
        <p:nvPicPr>
          <p:cNvPr id="197" name="Google Shape;197;p31"/>
          <p:cNvPicPr preferRelativeResize="0"/>
          <p:nvPr/>
        </p:nvPicPr>
        <p:blipFill rotWithShape="1">
          <a:blip r:embed="rId4">
            <a:alphaModFix/>
          </a:blip>
          <a:srcRect l="10338" t="55701" r="77752" b="23616"/>
          <a:stretch/>
        </p:blipFill>
        <p:spPr>
          <a:xfrm>
            <a:off x="339333" y="4435367"/>
            <a:ext cx="1369435" cy="1334367"/>
          </a:xfrm>
          <a:prstGeom prst="rect">
            <a:avLst/>
          </a:prstGeom>
          <a:noFill/>
          <a:ln>
            <a:noFill/>
          </a:ln>
        </p:spPr>
      </p:pic>
      <p:pic>
        <p:nvPicPr>
          <p:cNvPr id="198" name="Google Shape;198;p31"/>
          <p:cNvPicPr preferRelativeResize="0"/>
          <p:nvPr/>
        </p:nvPicPr>
        <p:blipFill rotWithShape="1">
          <a:blip r:embed="rId4">
            <a:alphaModFix/>
          </a:blip>
          <a:srcRect l="44178" t="56159" r="43912" b="25802"/>
          <a:stretch/>
        </p:blipFill>
        <p:spPr>
          <a:xfrm>
            <a:off x="10299065" y="2694450"/>
            <a:ext cx="1369435" cy="1163700"/>
          </a:xfrm>
          <a:prstGeom prst="rect">
            <a:avLst/>
          </a:prstGeom>
          <a:noFill/>
          <a:ln>
            <a:noFill/>
          </a:ln>
        </p:spPr>
      </p:pic>
      <p:pic>
        <p:nvPicPr>
          <p:cNvPr id="199" name="Google Shape;199;p31"/>
          <p:cNvPicPr preferRelativeResize="0"/>
          <p:nvPr/>
        </p:nvPicPr>
        <p:blipFill rotWithShape="1">
          <a:blip r:embed="rId4">
            <a:alphaModFix/>
          </a:blip>
          <a:srcRect l="78017" t="56378" r="10073" b="25584"/>
          <a:stretch/>
        </p:blipFill>
        <p:spPr>
          <a:xfrm>
            <a:off x="10299067" y="4520701"/>
            <a:ext cx="1369435" cy="11637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1">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sp>
        <p:nvSpPr>
          <p:cNvPr id="217" name="Google Shape;217;p34"/>
          <p:cNvSpPr txBox="1">
            <a:spLocks noGrp="1"/>
          </p:cNvSpPr>
          <p:nvPr>
            <p:ph type="title"/>
          </p:nvPr>
        </p:nvSpPr>
        <p:spPr>
          <a:xfrm>
            <a:off x="2620088" y="192919"/>
            <a:ext cx="9250800" cy="1706000"/>
          </a:xfrm>
          <a:prstGeom prst="rect">
            <a:avLst/>
          </a:prstGeom>
          <a:noFill/>
          <a:ln>
            <a:noFill/>
          </a:ln>
        </p:spPr>
        <p:txBody>
          <a:bodyPr spcFirstLastPara="1" wrap="square" lIns="121900" tIns="121900" rIns="121900" bIns="121900" anchor="ctr" anchorCtr="0">
            <a:noAutofit/>
          </a:bodyPr>
          <a:lstStyle/>
          <a:p>
            <a:pPr>
              <a:spcBef>
                <a:spcPts val="0"/>
              </a:spcBef>
            </a:pPr>
            <a:r>
              <a:rPr lang="nl" sz="5400" b="1" dirty="0">
                <a:solidFill>
                  <a:schemeClr val="tx2"/>
                </a:solidFill>
                <a:latin typeface="Poppins"/>
                <a:ea typeface="Poppins"/>
                <a:cs typeface="Poppins"/>
                <a:sym typeface="Poppins"/>
              </a:rPr>
              <a:t>Uitdagingen producenten.</a:t>
            </a:r>
            <a:endParaRPr sz="5400" b="1" dirty="0">
              <a:solidFill>
                <a:schemeClr val="tx2"/>
              </a:solidFill>
              <a:latin typeface="Poppins"/>
              <a:ea typeface="Poppins"/>
              <a:cs typeface="Poppins"/>
              <a:sym typeface="Poppins"/>
            </a:endParaRPr>
          </a:p>
        </p:txBody>
      </p:sp>
      <p:sp>
        <p:nvSpPr>
          <p:cNvPr id="218" name="Google Shape;218;p34"/>
          <p:cNvSpPr txBox="1"/>
          <p:nvPr/>
        </p:nvSpPr>
        <p:spPr>
          <a:xfrm>
            <a:off x="2366834" y="1857901"/>
            <a:ext cx="7604800" cy="3979200"/>
          </a:xfrm>
          <a:prstGeom prst="rect">
            <a:avLst/>
          </a:prstGeom>
          <a:noFill/>
          <a:ln>
            <a:noFill/>
          </a:ln>
        </p:spPr>
        <p:txBody>
          <a:bodyPr spcFirstLastPara="1" wrap="square" lIns="121900" tIns="121900" rIns="121900" bIns="121900" anchor="t" anchorCtr="0">
            <a:noAutofit/>
          </a:bodyPr>
          <a:lstStyle/>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Grondstof onzekerheid (tekort en hoge prijzen)</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Lagere marges beperken innovatiebudget</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Hogere kwaliteitseisen van klanten</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Spanning tussen innovatie en operatie </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Omgaan met diversiteit aan digitale systemen bij klanten</a:t>
            </a:r>
            <a:endParaRPr sz="2800" dirty="0">
              <a:solidFill>
                <a:schemeClr val="tx2"/>
              </a:solidFill>
              <a:latin typeface="+mj-lt"/>
              <a:ea typeface="Poppins"/>
              <a:cs typeface="Poppins"/>
              <a:sym typeface="Poppins"/>
            </a:endParaRPr>
          </a:p>
          <a:p>
            <a:pPr marL="609585" indent="-457189">
              <a:lnSpc>
                <a:spcPct val="115000"/>
              </a:lnSpc>
              <a:buClr>
                <a:schemeClr val="dk2"/>
              </a:buClr>
              <a:buSzPts val="1800"/>
              <a:buFont typeface="Poppins"/>
              <a:buAutoNum type="arabicPeriod"/>
            </a:pPr>
            <a:r>
              <a:rPr lang="nl" sz="2800" dirty="0">
                <a:solidFill>
                  <a:schemeClr val="tx2"/>
                </a:solidFill>
                <a:latin typeface="+mj-lt"/>
                <a:ea typeface="Poppins"/>
                <a:cs typeface="Poppins"/>
                <a:sym typeface="Poppins"/>
              </a:rPr>
              <a:t>Tekort aan technisch personeel </a:t>
            </a:r>
            <a:endParaRPr sz="1733" dirty="0">
              <a:solidFill>
                <a:schemeClr val="tx2"/>
              </a:solidFill>
              <a:latin typeface="Poppins"/>
              <a:ea typeface="Poppins"/>
              <a:cs typeface="Poppins"/>
              <a:sym typeface="Poppins"/>
            </a:endParaRPr>
          </a:p>
          <a:p>
            <a:pPr marL="1219170"/>
            <a:endParaRPr sz="1733" dirty="0">
              <a:solidFill>
                <a:schemeClr val="tx2"/>
              </a:solidFill>
              <a:latin typeface="Poppins"/>
              <a:ea typeface="Poppins"/>
              <a:cs typeface="Poppins"/>
              <a:sym typeface="Poppins"/>
            </a:endParaRPr>
          </a:p>
        </p:txBody>
      </p:sp>
      <p:pic>
        <p:nvPicPr>
          <p:cNvPr id="219" name="Google Shape;219;p34"/>
          <p:cNvPicPr preferRelativeResize="0"/>
          <p:nvPr/>
        </p:nvPicPr>
        <p:blipFill>
          <a:blip r:embed="rId3">
            <a:alphaModFix/>
          </a:blip>
          <a:stretch>
            <a:fillRect/>
          </a:stretch>
        </p:blipFill>
        <p:spPr>
          <a:xfrm>
            <a:off x="0" y="1"/>
            <a:ext cx="2734835" cy="829567"/>
          </a:xfrm>
          <a:prstGeom prst="rect">
            <a:avLst/>
          </a:prstGeom>
          <a:noFill/>
          <a:ln>
            <a:noFill/>
          </a:ln>
        </p:spPr>
      </p:pic>
      <p:sp>
        <p:nvSpPr>
          <p:cNvPr id="220" name="Google Shape;220;p34"/>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Autofit/>
          </a:bodyPr>
          <a:lstStyle/>
          <a:p>
            <a:pPr algn="r"/>
            <a:fld id="{00000000-1234-1234-1234-123412341234}" type="slidenum">
              <a:rPr lang="nl">
                <a:solidFill>
                  <a:schemeClr val="tx2"/>
                </a:solidFill>
              </a:rPr>
              <a:pPr algn="r"/>
              <a:t>11</a:t>
            </a:fld>
            <a:endParaRPr>
              <a:solidFill>
                <a:schemeClr val="tx2"/>
              </a:solidFill>
            </a:endParaRPr>
          </a:p>
        </p:txBody>
      </p:sp>
      <p:pic>
        <p:nvPicPr>
          <p:cNvPr id="221" name="Google Shape;221;p34"/>
          <p:cNvPicPr preferRelativeResize="0"/>
          <p:nvPr/>
        </p:nvPicPr>
        <p:blipFill rotWithShape="1">
          <a:blip r:embed="rId4">
            <a:alphaModFix/>
          </a:blip>
          <a:srcRect l="10107" t="15850" r="77983" b="68277"/>
          <a:stretch/>
        </p:blipFill>
        <p:spPr>
          <a:xfrm>
            <a:off x="383867" y="1389067"/>
            <a:ext cx="1369435" cy="1024032"/>
          </a:xfrm>
          <a:prstGeom prst="rect">
            <a:avLst/>
          </a:prstGeom>
          <a:noFill/>
          <a:ln>
            <a:noFill/>
          </a:ln>
        </p:spPr>
      </p:pic>
      <p:pic>
        <p:nvPicPr>
          <p:cNvPr id="222" name="Google Shape;222;p34"/>
          <p:cNvPicPr preferRelativeResize="0"/>
          <p:nvPr/>
        </p:nvPicPr>
        <p:blipFill rotWithShape="1">
          <a:blip r:embed="rId4">
            <a:alphaModFix/>
          </a:blip>
          <a:srcRect l="43962" t="16507" r="44128" b="68809"/>
          <a:stretch/>
        </p:blipFill>
        <p:spPr>
          <a:xfrm>
            <a:off x="10299067" y="1427468"/>
            <a:ext cx="1369435" cy="947233"/>
          </a:xfrm>
          <a:prstGeom prst="rect">
            <a:avLst/>
          </a:prstGeom>
          <a:noFill/>
          <a:ln>
            <a:noFill/>
          </a:ln>
        </p:spPr>
      </p:pic>
      <p:pic>
        <p:nvPicPr>
          <p:cNvPr id="223" name="Google Shape;223;p34"/>
          <p:cNvPicPr preferRelativeResize="0"/>
          <p:nvPr/>
        </p:nvPicPr>
        <p:blipFill rotWithShape="1">
          <a:blip r:embed="rId4">
            <a:alphaModFix/>
          </a:blip>
          <a:srcRect l="77816" t="15322" r="9500" b="66639"/>
          <a:stretch/>
        </p:blipFill>
        <p:spPr>
          <a:xfrm>
            <a:off x="294799" y="2745185"/>
            <a:ext cx="1458500" cy="1163700"/>
          </a:xfrm>
          <a:prstGeom prst="rect">
            <a:avLst/>
          </a:prstGeom>
          <a:noFill/>
          <a:ln>
            <a:noFill/>
          </a:ln>
        </p:spPr>
      </p:pic>
      <p:pic>
        <p:nvPicPr>
          <p:cNvPr id="224" name="Google Shape;224;p34"/>
          <p:cNvPicPr preferRelativeResize="0"/>
          <p:nvPr/>
        </p:nvPicPr>
        <p:blipFill rotWithShape="1">
          <a:blip r:embed="rId4">
            <a:alphaModFix/>
          </a:blip>
          <a:srcRect l="10338" t="55701" r="77752" b="23616"/>
          <a:stretch/>
        </p:blipFill>
        <p:spPr>
          <a:xfrm>
            <a:off x="339333" y="4588067"/>
            <a:ext cx="1369435" cy="1334367"/>
          </a:xfrm>
          <a:prstGeom prst="rect">
            <a:avLst/>
          </a:prstGeom>
          <a:noFill/>
          <a:ln>
            <a:noFill/>
          </a:ln>
        </p:spPr>
      </p:pic>
      <p:pic>
        <p:nvPicPr>
          <p:cNvPr id="225" name="Google Shape;225;p34"/>
          <p:cNvPicPr preferRelativeResize="0"/>
          <p:nvPr/>
        </p:nvPicPr>
        <p:blipFill rotWithShape="1">
          <a:blip r:embed="rId4">
            <a:alphaModFix/>
          </a:blip>
          <a:srcRect l="44178" t="56159" r="43912" b="25802"/>
          <a:stretch/>
        </p:blipFill>
        <p:spPr>
          <a:xfrm>
            <a:off x="10299065" y="2847150"/>
            <a:ext cx="1369435" cy="1163700"/>
          </a:xfrm>
          <a:prstGeom prst="rect">
            <a:avLst/>
          </a:prstGeom>
          <a:noFill/>
          <a:ln>
            <a:noFill/>
          </a:ln>
        </p:spPr>
      </p:pic>
      <p:pic>
        <p:nvPicPr>
          <p:cNvPr id="226" name="Google Shape;226;p34"/>
          <p:cNvPicPr preferRelativeResize="0"/>
          <p:nvPr/>
        </p:nvPicPr>
        <p:blipFill rotWithShape="1">
          <a:blip r:embed="rId4">
            <a:alphaModFix/>
          </a:blip>
          <a:srcRect l="78017" t="56378" r="10073" b="25584"/>
          <a:stretch/>
        </p:blipFill>
        <p:spPr>
          <a:xfrm>
            <a:off x="10299067" y="4673401"/>
            <a:ext cx="1369435" cy="11637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pic>
        <p:nvPicPr>
          <p:cNvPr id="7" name="Google Shape;232;p1" descr="A group of people walking in a park&#10;&#10;Description automatically generated">
            <a:extLst>
              <a:ext uri="{FF2B5EF4-FFF2-40B4-BE49-F238E27FC236}">
                <a16:creationId xmlns:a16="http://schemas.microsoft.com/office/drawing/2014/main" id="{9066C4BE-4A85-B843-B291-C805BDBC1ECA}"/>
              </a:ext>
            </a:extLst>
          </p:cNvPr>
          <p:cNvPicPr preferRelativeResize="0"/>
          <p:nvPr/>
        </p:nvPicPr>
        <p:blipFill rotWithShape="1">
          <a:blip r:embed="rId3">
            <a:alphaModFix amt="50000"/>
          </a:blip>
          <a:srcRect l="-11" t="12178" r="-2631" b="2865"/>
          <a:stretch/>
        </p:blipFill>
        <p:spPr>
          <a:xfrm>
            <a:off x="0" y="-40640"/>
            <a:ext cx="12496800" cy="5801360"/>
          </a:xfrm>
          <a:prstGeom prst="rect">
            <a:avLst/>
          </a:prstGeom>
          <a:noFill/>
          <a:ln>
            <a:noFill/>
          </a:ln>
        </p:spPr>
      </p:pic>
      <p:sp>
        <p:nvSpPr>
          <p:cNvPr id="3" name="Tekstvak 2">
            <a:extLst>
              <a:ext uri="{FF2B5EF4-FFF2-40B4-BE49-F238E27FC236}">
                <a16:creationId xmlns:a16="http://schemas.microsoft.com/office/drawing/2014/main" id="{593CEE6E-3124-4A74-85CA-2216D9D77671}"/>
              </a:ext>
            </a:extLst>
          </p:cNvPr>
          <p:cNvSpPr txBox="1"/>
          <p:nvPr/>
        </p:nvSpPr>
        <p:spPr>
          <a:xfrm>
            <a:off x="426720" y="558800"/>
            <a:ext cx="10688320" cy="4401205"/>
          </a:xfrm>
          <a:prstGeom prst="rect">
            <a:avLst/>
          </a:prstGeom>
          <a:noFill/>
        </p:spPr>
        <p:txBody>
          <a:bodyPr wrap="square" rtlCol="0">
            <a:spAutoFit/>
          </a:bodyPr>
          <a:lstStyle/>
          <a:p>
            <a:r>
              <a:rPr lang="nl-NL" sz="4000" dirty="0">
                <a:solidFill>
                  <a:schemeClr val="bg1"/>
                </a:solidFill>
                <a:latin typeface="Arial" panose="020B0604020202020204" pitchFamily="34" charset="0"/>
                <a:cs typeface="Arial" panose="020B0604020202020204" pitchFamily="34" charset="0"/>
              </a:rPr>
              <a:t> </a:t>
            </a:r>
          </a:p>
          <a:p>
            <a:endParaRPr lang="nl-NL" sz="8000" dirty="0">
              <a:solidFill>
                <a:schemeClr val="bg1"/>
              </a:solidFill>
              <a:latin typeface="Arial" panose="020B0604020202020204" pitchFamily="34" charset="0"/>
              <a:cs typeface="Arial" panose="020B0604020202020204" pitchFamily="34" charset="0"/>
            </a:endParaRPr>
          </a:p>
          <a:p>
            <a:r>
              <a:rPr lang="nl-NL" sz="8000" dirty="0">
                <a:solidFill>
                  <a:schemeClr val="bg1"/>
                </a:solidFill>
                <a:latin typeface="Arial" panose="020B0604020202020204" pitchFamily="34" charset="0"/>
                <a:cs typeface="Arial" panose="020B0604020202020204" pitchFamily="34" charset="0"/>
              </a:rPr>
              <a:t>Hoe beginnen we dan?</a:t>
            </a:r>
          </a:p>
          <a:p>
            <a:endParaRPr lang="nl-NL" sz="8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5209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801098" y="1396288"/>
            <a:ext cx="7611382" cy="3650199"/>
          </a:xfrm>
        </p:spPr>
        <p:txBody>
          <a:bodyPr vert="horz" lIns="91440" tIns="45720" rIns="91440" bIns="45720" rtlCol="0" anchor="ctr">
            <a:normAutofit/>
          </a:bodyPr>
          <a:lstStyle/>
          <a:p>
            <a:pPr algn="l" defTabSz="914400">
              <a:lnSpc>
                <a:spcPct val="90000"/>
              </a:lnSpc>
              <a:spcBef>
                <a:spcPct val="0"/>
              </a:spcBef>
            </a:pPr>
            <a:r>
              <a:rPr lang="en-US" sz="5400" dirty="0">
                <a:solidFill>
                  <a:schemeClr val="tx1"/>
                </a:solidFill>
              </a:rPr>
              <a:t>Van</a:t>
            </a:r>
            <a:br>
              <a:rPr lang="en-US" sz="5400" dirty="0">
                <a:solidFill>
                  <a:schemeClr val="tx1"/>
                </a:solidFill>
              </a:rPr>
            </a:br>
            <a:r>
              <a:rPr lang="en-US" sz="5400" dirty="0" err="1">
                <a:solidFill>
                  <a:schemeClr val="tx1"/>
                </a:solidFill>
              </a:rPr>
              <a:t>Waardeketen</a:t>
            </a:r>
            <a:r>
              <a:rPr lang="en-US" sz="5400" dirty="0">
                <a:solidFill>
                  <a:schemeClr val="tx1"/>
                </a:solidFill>
              </a:rPr>
              <a:t>,</a:t>
            </a:r>
            <a:br>
              <a:rPr lang="en-US" sz="5400" dirty="0">
                <a:solidFill>
                  <a:schemeClr val="tx1"/>
                </a:solidFill>
              </a:rPr>
            </a:br>
            <a:r>
              <a:rPr lang="en-US" sz="5400" dirty="0" err="1">
                <a:solidFill>
                  <a:schemeClr val="tx1"/>
                </a:solidFill>
              </a:rPr>
              <a:t>naar</a:t>
            </a:r>
            <a:r>
              <a:rPr lang="en-US" sz="5400" dirty="0">
                <a:solidFill>
                  <a:schemeClr val="tx1"/>
                </a:solidFill>
              </a:rPr>
              <a:t> </a:t>
            </a:r>
            <a:br>
              <a:rPr lang="en-US" sz="5400" dirty="0">
                <a:solidFill>
                  <a:schemeClr val="tx1"/>
                </a:solidFill>
              </a:rPr>
            </a:br>
            <a:r>
              <a:rPr lang="en-US" sz="5400" dirty="0">
                <a:solidFill>
                  <a:schemeClr val="tx1"/>
                </a:solidFill>
              </a:rPr>
              <a:t>Eco-</a:t>
            </a:r>
            <a:r>
              <a:rPr lang="en-US" sz="5400" dirty="0" err="1">
                <a:solidFill>
                  <a:schemeClr val="tx1"/>
                </a:solidFill>
              </a:rPr>
              <a:t>systeem</a:t>
            </a:r>
            <a:endParaRPr lang="en-US" sz="5400" dirty="0">
              <a:solidFill>
                <a:schemeClr val="tx1"/>
              </a:solidFill>
            </a:endParaRPr>
          </a:p>
        </p:txBody>
      </p:sp>
      <p:sp>
        <p:nvSpPr>
          <p:cNvPr id="3" name="Rechthoek 2">
            <a:extLst>
              <a:ext uri="{FF2B5EF4-FFF2-40B4-BE49-F238E27FC236}">
                <a16:creationId xmlns:a16="http://schemas.microsoft.com/office/drawing/2014/main" id="{66CA8A36-8AB0-46B2-A0A7-E17BB3811F34}"/>
              </a:ext>
            </a:extLst>
          </p:cNvPr>
          <p:cNvSpPr/>
          <p:nvPr/>
        </p:nvSpPr>
        <p:spPr>
          <a:xfrm>
            <a:off x="805543" y="2871982"/>
            <a:ext cx="4558309" cy="3181684"/>
          </a:xfrm>
          <a:prstGeom prst="rect">
            <a:avLst/>
          </a:prstGeom>
        </p:spPr>
        <p:txBody>
          <a:bodyPr vert="horz" lIns="91440" tIns="45720" rIns="91440" bIns="45720" rtlCol="0" anchor="t">
            <a:normAutofit/>
          </a:bodyPr>
          <a:lstStyle/>
          <a:p>
            <a:pPr defTabSz="914400">
              <a:lnSpc>
                <a:spcPct val="90000"/>
              </a:lnSpc>
              <a:spcAft>
                <a:spcPts val="600"/>
              </a:spcAft>
            </a:pPr>
            <a:endParaRPr lang="en-US" dirty="0">
              <a:latin typeface="Arial" panose="020B0604020202020204" pitchFamily="34" charset="0"/>
              <a:cs typeface="Arial" panose="020B0604020202020204" pitchFamily="34" charset="0"/>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153156"/>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pic>
        <p:nvPicPr>
          <p:cNvPr id="7" name="Google Shape;232;p1" descr="A group of people walking in a park&#10;&#10;Description automatically generated">
            <a:extLst>
              <a:ext uri="{FF2B5EF4-FFF2-40B4-BE49-F238E27FC236}">
                <a16:creationId xmlns:a16="http://schemas.microsoft.com/office/drawing/2014/main" id="{9066C4BE-4A85-B843-B291-C805BDBC1ECA}"/>
              </a:ext>
            </a:extLst>
          </p:cNvPr>
          <p:cNvPicPr preferRelativeResize="0"/>
          <p:nvPr/>
        </p:nvPicPr>
        <p:blipFill rotWithShape="1">
          <a:blip r:embed="rId3">
            <a:alphaModFix amt="50000"/>
          </a:blip>
          <a:srcRect l="-11" t="12178" r="-2631" b="2865"/>
          <a:stretch/>
        </p:blipFill>
        <p:spPr>
          <a:xfrm>
            <a:off x="0" y="-40640"/>
            <a:ext cx="12496800" cy="5801360"/>
          </a:xfrm>
          <a:prstGeom prst="rect">
            <a:avLst/>
          </a:prstGeom>
          <a:noFill/>
          <a:ln>
            <a:noFill/>
          </a:ln>
        </p:spPr>
      </p:pic>
      <p:sp>
        <p:nvSpPr>
          <p:cNvPr id="3" name="Tekstvak 2">
            <a:extLst>
              <a:ext uri="{FF2B5EF4-FFF2-40B4-BE49-F238E27FC236}">
                <a16:creationId xmlns:a16="http://schemas.microsoft.com/office/drawing/2014/main" id="{593CEE6E-3124-4A74-85CA-2216D9D77671}"/>
              </a:ext>
            </a:extLst>
          </p:cNvPr>
          <p:cNvSpPr txBox="1"/>
          <p:nvPr/>
        </p:nvSpPr>
        <p:spPr>
          <a:xfrm>
            <a:off x="162560" y="2712720"/>
            <a:ext cx="10688320" cy="3785652"/>
          </a:xfrm>
          <a:prstGeom prst="rect">
            <a:avLst/>
          </a:prstGeom>
          <a:noFill/>
        </p:spPr>
        <p:txBody>
          <a:bodyPr wrap="square" rtlCol="0">
            <a:spAutoFit/>
          </a:bodyPr>
          <a:lstStyle/>
          <a:p>
            <a:r>
              <a:rPr lang="nl-NL" sz="4000" dirty="0">
                <a:solidFill>
                  <a:schemeClr val="bg1"/>
                </a:solidFill>
                <a:latin typeface="Arial" panose="020B0604020202020204" pitchFamily="34" charset="0"/>
                <a:cs typeface="Arial" panose="020B0604020202020204" pitchFamily="34" charset="0"/>
              </a:rPr>
              <a:t> </a:t>
            </a:r>
          </a:p>
          <a:p>
            <a:r>
              <a:rPr lang="nl-NL" sz="8000" dirty="0">
                <a:solidFill>
                  <a:schemeClr val="bg1"/>
                </a:solidFill>
                <a:latin typeface="Arial" panose="020B0604020202020204" pitchFamily="34" charset="0"/>
                <a:cs typeface="Arial" panose="020B0604020202020204" pitchFamily="34" charset="0"/>
              </a:rPr>
              <a:t>Anders denken</a:t>
            </a:r>
          </a:p>
          <a:p>
            <a:r>
              <a:rPr lang="nl-NL" sz="4000" dirty="0">
                <a:solidFill>
                  <a:schemeClr val="bg1"/>
                </a:solidFill>
                <a:latin typeface="Arial" panose="020B0604020202020204" pitchFamily="34" charset="0"/>
                <a:cs typeface="Arial" panose="020B0604020202020204" pitchFamily="34" charset="0"/>
              </a:rPr>
              <a:t>Buiten de gebaande paden treden.</a:t>
            </a:r>
          </a:p>
          <a:p>
            <a:endParaRPr lang="nl-NL" sz="8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5628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291B6FDE-6AB3-4411-8DC8-6ACB8E7994D8}"/>
              </a:ext>
            </a:extLst>
          </p:cNvPr>
          <p:cNvSpPr>
            <a:spLocks noGrp="1"/>
          </p:cNvSpPr>
          <p:nvPr>
            <p:ph type="dt" sz="half" idx="6"/>
          </p:nvPr>
        </p:nvSpPr>
        <p:spPr/>
        <p:txBody>
          <a:bodyPr/>
          <a:lstStyle/>
          <a:p>
            <a:pPr marL="12700">
              <a:lnSpc>
                <a:spcPts val="1430"/>
              </a:lnSpc>
            </a:pPr>
            <a:endParaRPr lang="nl-NL" spc="-10" dirty="0">
              <a:solidFill>
                <a:srgbClr val="002F86"/>
              </a:solidFill>
            </a:endParaRPr>
          </a:p>
        </p:txBody>
      </p:sp>
      <p:pic>
        <p:nvPicPr>
          <p:cNvPr id="7170" name="Picture 2" descr="Organisatieontwikkeling Anders Groeien">
            <a:extLst>
              <a:ext uri="{FF2B5EF4-FFF2-40B4-BE49-F238E27FC236}">
                <a16:creationId xmlns:a16="http://schemas.microsoft.com/office/drawing/2014/main" id="{201719BB-3645-4025-A418-2643A025ED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1403" y="598353"/>
            <a:ext cx="10211752" cy="533617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ow to Start Digitizing Your Supply Chain Management - SlideModel">
            <a:extLst>
              <a:ext uri="{FF2B5EF4-FFF2-40B4-BE49-F238E27FC236}">
                <a16:creationId xmlns:a16="http://schemas.microsoft.com/office/drawing/2014/main" id="{98632454-8D5B-4586-9D7E-5605E4D9D9D2}"/>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535" t="17839" r="50952" b="6400"/>
          <a:stretch/>
        </p:blipFill>
        <p:spPr bwMode="auto">
          <a:xfrm>
            <a:off x="497840" y="923473"/>
            <a:ext cx="5486400" cy="5110480"/>
          </a:xfrm>
          <a:prstGeom prst="rect">
            <a:avLst/>
          </a:prstGeom>
          <a:extLst>
            <a:ext uri="{909E8E84-426E-40DD-AFC4-6F175D3DCCD1}">
              <a14:hiddenFill xmlns:a14="http://schemas.microsoft.com/office/drawing/2010/main">
                <a:solidFill>
                  <a:srgbClr val="FFFFFF"/>
                </a:solidFill>
              </a14:hiddenFill>
            </a:ext>
          </a:extLst>
        </p:spPr>
      </p:pic>
      <p:sp>
        <p:nvSpPr>
          <p:cNvPr id="5" name="TextBox 3">
            <a:extLst>
              <a:ext uri="{FF2B5EF4-FFF2-40B4-BE49-F238E27FC236}">
                <a16:creationId xmlns:a16="http://schemas.microsoft.com/office/drawing/2014/main" id="{4BB90BDE-B279-47DB-8101-895D2B5C1ADD}"/>
              </a:ext>
            </a:extLst>
          </p:cNvPr>
          <p:cNvSpPr txBox="1"/>
          <p:nvPr/>
        </p:nvSpPr>
        <p:spPr>
          <a:xfrm>
            <a:off x="304801" y="185675"/>
            <a:ext cx="12192001" cy="747128"/>
          </a:xfrm>
          <a:prstGeom prst="rect">
            <a:avLst/>
          </a:prstGeom>
          <a:noFill/>
        </p:spPr>
        <p:txBody>
          <a:bodyPr wrap="square" rtlCol="0" anchor="ctr">
            <a:spAutoFit/>
          </a:bodyPr>
          <a:lstStyle/>
          <a:p>
            <a:pPr>
              <a:lnSpc>
                <a:spcPts val="5400"/>
              </a:lnSpc>
            </a:pPr>
            <a:r>
              <a:rPr lang="en-US" altLang="ko-KR" sz="4000" b="1" dirty="0">
                <a:solidFill>
                  <a:schemeClr val="tx2"/>
                </a:solidFill>
                <a:cs typeface="Arial" pitchFamily="34" charset="0"/>
              </a:rPr>
              <a:t>Van </a:t>
            </a:r>
            <a:r>
              <a:rPr lang="en-US" altLang="ko-KR" sz="4000" b="1" dirty="0" err="1">
                <a:solidFill>
                  <a:schemeClr val="tx2"/>
                </a:solidFill>
                <a:cs typeface="Arial" pitchFamily="34" charset="0"/>
              </a:rPr>
              <a:t>waardeketen</a:t>
            </a:r>
            <a:r>
              <a:rPr lang="en-US" altLang="ko-KR" sz="4000" b="1" dirty="0">
                <a:solidFill>
                  <a:schemeClr val="tx2"/>
                </a:solidFill>
                <a:cs typeface="Arial" pitchFamily="34" charset="0"/>
              </a:rPr>
              <a:t> </a:t>
            </a:r>
            <a:r>
              <a:rPr lang="en-US" altLang="ko-KR" sz="4000" b="1" dirty="0" err="1">
                <a:solidFill>
                  <a:schemeClr val="tx2"/>
                </a:solidFill>
                <a:cs typeface="Arial" pitchFamily="34" charset="0"/>
              </a:rPr>
              <a:t>naar</a:t>
            </a:r>
            <a:r>
              <a:rPr lang="en-US" altLang="ko-KR" sz="4000" b="1" dirty="0">
                <a:solidFill>
                  <a:schemeClr val="tx2"/>
                </a:solidFill>
                <a:cs typeface="Arial" pitchFamily="34" charset="0"/>
              </a:rPr>
              <a:t> </a:t>
            </a:r>
            <a:r>
              <a:rPr lang="en-US" altLang="ko-KR" sz="4000" b="1" dirty="0" err="1">
                <a:solidFill>
                  <a:schemeClr val="tx2"/>
                </a:solidFill>
                <a:cs typeface="Arial" pitchFamily="34" charset="0"/>
              </a:rPr>
              <a:t>ecosysteem</a:t>
            </a:r>
            <a:endParaRPr lang="ko-KR" altLang="en-US" sz="4000" b="1" dirty="0">
              <a:solidFill>
                <a:schemeClr val="tx2"/>
              </a:solidFill>
              <a:cs typeface="Arial" pitchFamily="34" charset="0"/>
            </a:endParaRPr>
          </a:p>
        </p:txBody>
      </p:sp>
      <p:sp>
        <p:nvSpPr>
          <p:cNvPr id="3" name="Pijl: rechts 2">
            <a:extLst>
              <a:ext uri="{FF2B5EF4-FFF2-40B4-BE49-F238E27FC236}">
                <a16:creationId xmlns:a16="http://schemas.microsoft.com/office/drawing/2014/main" id="{4E827C78-4D4A-4779-B473-BA551DD99EEF}"/>
              </a:ext>
            </a:extLst>
          </p:cNvPr>
          <p:cNvSpPr/>
          <p:nvPr/>
        </p:nvSpPr>
        <p:spPr>
          <a:xfrm>
            <a:off x="5882641" y="3037840"/>
            <a:ext cx="1036320" cy="477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654356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291B6FDE-6AB3-4411-8DC8-6ACB8E7994D8}"/>
              </a:ext>
            </a:extLst>
          </p:cNvPr>
          <p:cNvSpPr>
            <a:spLocks noGrp="1"/>
          </p:cNvSpPr>
          <p:nvPr>
            <p:ph type="dt" sz="half" idx="6"/>
          </p:nvPr>
        </p:nvSpPr>
        <p:spPr/>
        <p:txBody>
          <a:bodyPr/>
          <a:lstStyle/>
          <a:p>
            <a:pPr marL="12700">
              <a:lnSpc>
                <a:spcPts val="1430"/>
              </a:lnSpc>
            </a:pPr>
            <a:r>
              <a:rPr lang="nl-NL" spc="-10">
                <a:solidFill>
                  <a:srgbClr val="002F86"/>
                </a:solidFill>
              </a:rPr>
              <a:t>05.03.2021</a:t>
            </a:r>
            <a:endParaRPr lang="nl-NL" spc="-10" dirty="0">
              <a:solidFill>
                <a:srgbClr val="002F86"/>
              </a:solidFill>
            </a:endParaRPr>
          </a:p>
        </p:txBody>
      </p:sp>
      <p:pic>
        <p:nvPicPr>
          <p:cNvPr id="7170" name="Picture 2" descr="Organisatieontwikkeling Anders Groeien">
            <a:extLst>
              <a:ext uri="{FF2B5EF4-FFF2-40B4-BE49-F238E27FC236}">
                <a16:creationId xmlns:a16="http://schemas.microsoft.com/office/drawing/2014/main" id="{201719BB-3645-4025-A418-2643A025ED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396" y="465443"/>
            <a:ext cx="10211752" cy="533617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3">
            <a:extLst>
              <a:ext uri="{FF2B5EF4-FFF2-40B4-BE49-F238E27FC236}">
                <a16:creationId xmlns:a16="http://schemas.microsoft.com/office/drawing/2014/main" id="{4BB90BDE-B279-47DB-8101-895D2B5C1ADD}"/>
              </a:ext>
            </a:extLst>
          </p:cNvPr>
          <p:cNvSpPr txBox="1"/>
          <p:nvPr/>
        </p:nvSpPr>
        <p:spPr>
          <a:xfrm>
            <a:off x="304801" y="185675"/>
            <a:ext cx="12192001" cy="747128"/>
          </a:xfrm>
          <a:prstGeom prst="rect">
            <a:avLst/>
          </a:prstGeom>
          <a:noFill/>
        </p:spPr>
        <p:txBody>
          <a:bodyPr wrap="square" rtlCol="0" anchor="ctr">
            <a:spAutoFit/>
          </a:bodyPr>
          <a:lstStyle/>
          <a:p>
            <a:pPr>
              <a:lnSpc>
                <a:spcPts val="5400"/>
              </a:lnSpc>
            </a:pPr>
            <a:r>
              <a:rPr lang="en-US" altLang="ko-KR" sz="4000" b="1" dirty="0">
                <a:solidFill>
                  <a:schemeClr val="tx2"/>
                </a:solidFill>
                <a:cs typeface="Arial" pitchFamily="34" charset="0"/>
              </a:rPr>
              <a:t>Van </a:t>
            </a:r>
            <a:r>
              <a:rPr lang="en-US" altLang="ko-KR" sz="4000" b="1" dirty="0" err="1">
                <a:solidFill>
                  <a:schemeClr val="tx2"/>
                </a:solidFill>
                <a:cs typeface="Arial" pitchFamily="34" charset="0"/>
              </a:rPr>
              <a:t>waardeketen</a:t>
            </a:r>
            <a:r>
              <a:rPr lang="en-US" altLang="ko-KR" sz="4000" b="1" dirty="0">
                <a:solidFill>
                  <a:schemeClr val="tx2"/>
                </a:solidFill>
                <a:cs typeface="Arial" pitchFamily="34" charset="0"/>
              </a:rPr>
              <a:t> </a:t>
            </a:r>
            <a:r>
              <a:rPr lang="en-US" altLang="ko-KR" sz="4000" b="1" dirty="0" err="1">
                <a:solidFill>
                  <a:schemeClr val="tx2"/>
                </a:solidFill>
                <a:cs typeface="Arial" pitchFamily="34" charset="0"/>
              </a:rPr>
              <a:t>naar</a:t>
            </a:r>
            <a:r>
              <a:rPr lang="en-US" altLang="ko-KR" sz="4000" b="1" dirty="0">
                <a:solidFill>
                  <a:schemeClr val="tx2"/>
                </a:solidFill>
                <a:cs typeface="Arial" pitchFamily="34" charset="0"/>
              </a:rPr>
              <a:t> </a:t>
            </a:r>
            <a:r>
              <a:rPr lang="en-US" altLang="ko-KR" sz="4000" b="1" dirty="0" err="1">
                <a:solidFill>
                  <a:schemeClr val="tx2"/>
                </a:solidFill>
                <a:cs typeface="Arial" pitchFamily="34" charset="0"/>
              </a:rPr>
              <a:t>ecosysteem</a:t>
            </a:r>
            <a:endParaRPr lang="ko-KR" altLang="en-US" sz="4000" b="1" dirty="0">
              <a:solidFill>
                <a:schemeClr val="tx2"/>
              </a:solidFill>
              <a:cs typeface="Arial" pitchFamily="34" charset="0"/>
            </a:endParaRPr>
          </a:p>
        </p:txBody>
      </p:sp>
      <p:sp>
        <p:nvSpPr>
          <p:cNvPr id="6" name="Pijl: rechts 5">
            <a:extLst>
              <a:ext uri="{FF2B5EF4-FFF2-40B4-BE49-F238E27FC236}">
                <a16:creationId xmlns:a16="http://schemas.microsoft.com/office/drawing/2014/main" id="{B304B621-98D5-4A9F-AA6D-7B00BC1ED902}"/>
              </a:ext>
            </a:extLst>
          </p:cNvPr>
          <p:cNvSpPr/>
          <p:nvPr/>
        </p:nvSpPr>
        <p:spPr>
          <a:xfrm>
            <a:off x="5882641" y="3037840"/>
            <a:ext cx="1036320" cy="477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kstvak 2">
            <a:extLst>
              <a:ext uri="{FF2B5EF4-FFF2-40B4-BE49-F238E27FC236}">
                <a16:creationId xmlns:a16="http://schemas.microsoft.com/office/drawing/2014/main" id="{48654DD5-91F9-4D5D-A2DD-0EAD9D2AD926}"/>
              </a:ext>
            </a:extLst>
          </p:cNvPr>
          <p:cNvSpPr txBox="1"/>
          <p:nvPr/>
        </p:nvSpPr>
        <p:spPr>
          <a:xfrm>
            <a:off x="304801" y="1242295"/>
            <a:ext cx="2621280" cy="646331"/>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Winst, groei, en</a:t>
            </a:r>
          </a:p>
          <a:p>
            <a:r>
              <a:rPr lang="nl-NL" dirty="0">
                <a:latin typeface="Arial" panose="020B0604020202020204" pitchFamily="34" charset="0"/>
                <a:cs typeface="Arial" panose="020B0604020202020204" pitchFamily="34" charset="0"/>
              </a:rPr>
              <a:t> marges centraal</a:t>
            </a:r>
          </a:p>
        </p:txBody>
      </p:sp>
      <p:sp>
        <p:nvSpPr>
          <p:cNvPr id="8" name="Tekstvak 7">
            <a:extLst>
              <a:ext uri="{FF2B5EF4-FFF2-40B4-BE49-F238E27FC236}">
                <a16:creationId xmlns:a16="http://schemas.microsoft.com/office/drawing/2014/main" id="{22300F98-31CF-4380-B550-90331A96FD18}"/>
              </a:ext>
            </a:extLst>
          </p:cNvPr>
          <p:cNvSpPr txBox="1"/>
          <p:nvPr/>
        </p:nvSpPr>
        <p:spPr>
          <a:xfrm>
            <a:off x="9891236" y="1242295"/>
            <a:ext cx="2621280" cy="646331"/>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Maatschappelijke thema’s centraal</a:t>
            </a:r>
          </a:p>
        </p:txBody>
      </p:sp>
      <p:sp>
        <p:nvSpPr>
          <p:cNvPr id="9" name="Tekstvak 8">
            <a:extLst>
              <a:ext uri="{FF2B5EF4-FFF2-40B4-BE49-F238E27FC236}">
                <a16:creationId xmlns:a16="http://schemas.microsoft.com/office/drawing/2014/main" id="{4A1CE4AD-B517-4274-84C1-498BA0101580}"/>
              </a:ext>
            </a:extLst>
          </p:cNvPr>
          <p:cNvSpPr txBox="1"/>
          <p:nvPr/>
        </p:nvSpPr>
        <p:spPr>
          <a:xfrm>
            <a:off x="9891236" y="2420906"/>
            <a:ext cx="2300764" cy="923330"/>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Verantwoordelijkheid delen, ruimte om fouten te maken</a:t>
            </a:r>
          </a:p>
        </p:txBody>
      </p:sp>
      <p:sp>
        <p:nvSpPr>
          <p:cNvPr id="10" name="Tekstvak 9">
            <a:extLst>
              <a:ext uri="{FF2B5EF4-FFF2-40B4-BE49-F238E27FC236}">
                <a16:creationId xmlns:a16="http://schemas.microsoft.com/office/drawing/2014/main" id="{E1EC47E4-A260-4688-A01C-0359BFEC8A08}"/>
              </a:ext>
            </a:extLst>
          </p:cNvPr>
          <p:cNvSpPr txBox="1"/>
          <p:nvPr/>
        </p:nvSpPr>
        <p:spPr>
          <a:xfrm>
            <a:off x="304801" y="2559405"/>
            <a:ext cx="2300764" cy="646331"/>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Afrekenen, afschuiven, wijzen. </a:t>
            </a:r>
          </a:p>
        </p:txBody>
      </p:sp>
      <p:sp>
        <p:nvSpPr>
          <p:cNvPr id="11" name="Tekstvak 10">
            <a:extLst>
              <a:ext uri="{FF2B5EF4-FFF2-40B4-BE49-F238E27FC236}">
                <a16:creationId xmlns:a16="http://schemas.microsoft.com/office/drawing/2014/main" id="{42CDAE9E-FED4-416A-9E74-58701A641A2D}"/>
              </a:ext>
            </a:extLst>
          </p:cNvPr>
          <p:cNvSpPr txBox="1"/>
          <p:nvPr/>
        </p:nvSpPr>
        <p:spPr>
          <a:xfrm>
            <a:off x="304801" y="3876516"/>
            <a:ext cx="2300764" cy="369332"/>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Klanten</a:t>
            </a:r>
          </a:p>
        </p:txBody>
      </p:sp>
      <p:sp>
        <p:nvSpPr>
          <p:cNvPr id="12" name="Tekstvak 11">
            <a:extLst>
              <a:ext uri="{FF2B5EF4-FFF2-40B4-BE49-F238E27FC236}">
                <a16:creationId xmlns:a16="http://schemas.microsoft.com/office/drawing/2014/main" id="{13BAF6F4-378F-46FF-9280-406C2962C898}"/>
              </a:ext>
            </a:extLst>
          </p:cNvPr>
          <p:cNvSpPr txBox="1"/>
          <p:nvPr/>
        </p:nvSpPr>
        <p:spPr>
          <a:xfrm>
            <a:off x="10051494" y="3876516"/>
            <a:ext cx="2300764" cy="369332"/>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Partners</a:t>
            </a:r>
          </a:p>
        </p:txBody>
      </p:sp>
    </p:spTree>
    <p:extLst>
      <p:ext uri="{BB962C8B-B14F-4D97-AF65-F5344CB8AC3E}">
        <p14:creationId xmlns:p14="http://schemas.microsoft.com/office/powerpoint/2010/main" val="4180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P spid="11" grpId="0"/>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pic>
        <p:nvPicPr>
          <p:cNvPr id="7" name="Google Shape;232;p1" descr="A group of people walking in a park&#10;&#10;Description automatically generated">
            <a:extLst>
              <a:ext uri="{FF2B5EF4-FFF2-40B4-BE49-F238E27FC236}">
                <a16:creationId xmlns:a16="http://schemas.microsoft.com/office/drawing/2014/main" id="{9066C4BE-4A85-B843-B291-C805BDBC1ECA}"/>
              </a:ext>
            </a:extLst>
          </p:cNvPr>
          <p:cNvPicPr preferRelativeResize="0"/>
          <p:nvPr/>
        </p:nvPicPr>
        <p:blipFill rotWithShape="1">
          <a:blip r:embed="rId3">
            <a:alphaModFix amt="50000"/>
          </a:blip>
          <a:srcRect l="-11" t="12178" r="-2631" b="2865"/>
          <a:stretch/>
        </p:blipFill>
        <p:spPr>
          <a:xfrm>
            <a:off x="0" y="0"/>
            <a:ext cx="12496800" cy="5801360"/>
          </a:xfrm>
          <a:prstGeom prst="rect">
            <a:avLst/>
          </a:prstGeom>
          <a:noFill/>
          <a:ln>
            <a:noFill/>
          </a:ln>
        </p:spPr>
      </p:pic>
      <p:sp>
        <p:nvSpPr>
          <p:cNvPr id="3" name="Tekstvak 2">
            <a:extLst>
              <a:ext uri="{FF2B5EF4-FFF2-40B4-BE49-F238E27FC236}">
                <a16:creationId xmlns:a16="http://schemas.microsoft.com/office/drawing/2014/main" id="{593CEE6E-3124-4A74-85CA-2216D9D77671}"/>
              </a:ext>
            </a:extLst>
          </p:cNvPr>
          <p:cNvSpPr txBox="1"/>
          <p:nvPr/>
        </p:nvSpPr>
        <p:spPr>
          <a:xfrm>
            <a:off x="426720" y="558800"/>
            <a:ext cx="10688320" cy="4585871"/>
          </a:xfrm>
          <a:prstGeom prst="rect">
            <a:avLst/>
          </a:prstGeom>
          <a:noFill/>
        </p:spPr>
        <p:txBody>
          <a:bodyPr wrap="square" rtlCol="0">
            <a:spAutoFit/>
          </a:bodyPr>
          <a:lstStyle/>
          <a:p>
            <a:r>
              <a:rPr lang="nl-NL" sz="4000" b="1" dirty="0">
                <a:solidFill>
                  <a:schemeClr val="bg1"/>
                </a:solidFill>
                <a:latin typeface="Arial" panose="020B0604020202020204" pitchFamily="34" charset="0"/>
                <a:cs typeface="Arial" panose="020B0604020202020204" pitchFamily="34" charset="0"/>
              </a:rPr>
              <a:t>Onze Innovatie Uitgangspunten:</a:t>
            </a:r>
          </a:p>
          <a:p>
            <a:r>
              <a:rPr lang="nl-NL" sz="3600" dirty="0">
                <a:solidFill>
                  <a:schemeClr val="bg1"/>
                </a:solidFill>
                <a:latin typeface="Arial" panose="020B0604020202020204" pitchFamily="34" charset="0"/>
                <a:cs typeface="Arial" panose="020B0604020202020204" pitchFamily="34" charset="0"/>
              </a:rPr>
              <a:t> </a:t>
            </a:r>
          </a:p>
          <a:p>
            <a:r>
              <a:rPr lang="nl-NL" sz="3600" b="1" dirty="0">
                <a:solidFill>
                  <a:schemeClr val="bg1"/>
                </a:solidFill>
                <a:latin typeface="Arial" panose="020B0604020202020204" pitchFamily="34" charset="0"/>
                <a:cs typeface="Arial" panose="020B0604020202020204" pitchFamily="34" charset="0"/>
              </a:rPr>
              <a:t>Multi- disciplinair</a:t>
            </a:r>
          </a:p>
          <a:p>
            <a:pPr marL="571500" indent="-571500">
              <a:buFont typeface="Arial" panose="020B0604020202020204" pitchFamily="34" charset="0"/>
              <a:buChar char="•"/>
            </a:pPr>
            <a:r>
              <a:rPr lang="nl-NL" sz="3600" dirty="0">
                <a:solidFill>
                  <a:schemeClr val="bg1"/>
                </a:solidFill>
                <a:latin typeface="Arial" panose="020B0604020202020204" pitchFamily="34" charset="0"/>
                <a:cs typeface="Arial" panose="020B0604020202020204" pitchFamily="34" charset="0"/>
              </a:rPr>
              <a:t>Samenwerken - Vertrouwen - Leren</a:t>
            </a:r>
          </a:p>
          <a:p>
            <a:r>
              <a:rPr lang="nl-NL" sz="3600" b="1" dirty="0">
                <a:solidFill>
                  <a:schemeClr val="bg1"/>
                </a:solidFill>
                <a:latin typeface="Arial" panose="020B0604020202020204" pitchFamily="34" charset="0"/>
                <a:cs typeface="Arial" panose="020B0604020202020204" pitchFamily="34" charset="0"/>
              </a:rPr>
              <a:t>Co-creatie</a:t>
            </a:r>
          </a:p>
          <a:p>
            <a:pPr marL="571500" indent="-571500">
              <a:buFont typeface="Arial" panose="020B0604020202020204" pitchFamily="34" charset="0"/>
              <a:buChar char="•"/>
            </a:pPr>
            <a:r>
              <a:rPr lang="nl-NL" sz="3600" dirty="0">
                <a:solidFill>
                  <a:schemeClr val="bg1"/>
                </a:solidFill>
                <a:latin typeface="Arial" panose="020B0604020202020204" pitchFamily="34" charset="0"/>
                <a:cs typeface="Arial" panose="020B0604020202020204" pitchFamily="34" charset="0"/>
              </a:rPr>
              <a:t>Vernieuwen - Uitdagen - Proberen </a:t>
            </a:r>
          </a:p>
          <a:p>
            <a:r>
              <a:rPr lang="nl-NL" sz="3600" b="1" dirty="0">
                <a:solidFill>
                  <a:schemeClr val="bg1"/>
                </a:solidFill>
                <a:latin typeface="Arial" panose="020B0604020202020204" pitchFamily="34" charset="0"/>
                <a:cs typeface="Arial" panose="020B0604020202020204" pitchFamily="34" charset="0"/>
              </a:rPr>
              <a:t>Gericht op de toekomst</a:t>
            </a:r>
          </a:p>
          <a:p>
            <a:pPr marL="571500" indent="-571500">
              <a:buFont typeface="Arial" panose="020B0604020202020204" pitchFamily="34" charset="0"/>
              <a:buChar char="•"/>
            </a:pPr>
            <a:r>
              <a:rPr lang="nl-NL" sz="3600" dirty="0">
                <a:solidFill>
                  <a:schemeClr val="bg1"/>
                </a:solidFill>
                <a:latin typeface="Arial" panose="020B0604020202020204" pitchFamily="34" charset="0"/>
                <a:cs typeface="Arial" panose="020B0604020202020204" pitchFamily="34" charset="0"/>
              </a:rPr>
              <a:t>Prefab - Duurzaam - ‘Slim’</a:t>
            </a:r>
          </a:p>
        </p:txBody>
      </p:sp>
    </p:spTree>
    <p:extLst>
      <p:ext uri="{BB962C8B-B14F-4D97-AF65-F5344CB8AC3E}">
        <p14:creationId xmlns:p14="http://schemas.microsoft.com/office/powerpoint/2010/main" val="1592348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801098" y="1396288"/>
            <a:ext cx="7611382" cy="3650199"/>
          </a:xfrm>
        </p:spPr>
        <p:txBody>
          <a:bodyPr vert="horz" lIns="91440" tIns="45720" rIns="91440" bIns="45720" rtlCol="0" anchor="ctr">
            <a:normAutofit/>
          </a:bodyPr>
          <a:lstStyle/>
          <a:p>
            <a:pPr algn="l" defTabSz="914400">
              <a:lnSpc>
                <a:spcPct val="90000"/>
              </a:lnSpc>
              <a:spcBef>
                <a:spcPct val="0"/>
              </a:spcBef>
            </a:pPr>
            <a:r>
              <a:rPr lang="en-US" sz="5400" dirty="0" err="1">
                <a:solidFill>
                  <a:schemeClr val="tx1"/>
                </a:solidFill>
              </a:rPr>
              <a:t>Voorbeelden</a:t>
            </a:r>
            <a:endParaRPr lang="en-US" sz="5400" dirty="0">
              <a:solidFill>
                <a:schemeClr val="tx1"/>
              </a:solidFill>
            </a:endParaRPr>
          </a:p>
        </p:txBody>
      </p:sp>
      <p:sp>
        <p:nvSpPr>
          <p:cNvPr id="3" name="Rechthoek 2">
            <a:extLst>
              <a:ext uri="{FF2B5EF4-FFF2-40B4-BE49-F238E27FC236}">
                <a16:creationId xmlns:a16="http://schemas.microsoft.com/office/drawing/2014/main" id="{66CA8A36-8AB0-46B2-A0A7-E17BB3811F34}"/>
              </a:ext>
            </a:extLst>
          </p:cNvPr>
          <p:cNvSpPr/>
          <p:nvPr/>
        </p:nvSpPr>
        <p:spPr>
          <a:xfrm>
            <a:off x="805543" y="2871982"/>
            <a:ext cx="4558309" cy="3181684"/>
          </a:xfrm>
          <a:prstGeom prst="rect">
            <a:avLst/>
          </a:prstGeom>
        </p:spPr>
        <p:txBody>
          <a:bodyPr vert="horz" lIns="91440" tIns="45720" rIns="91440" bIns="45720" rtlCol="0" anchor="t">
            <a:normAutofit/>
          </a:bodyPr>
          <a:lstStyle/>
          <a:p>
            <a:pPr defTabSz="914400">
              <a:lnSpc>
                <a:spcPct val="90000"/>
              </a:lnSpc>
              <a:spcAft>
                <a:spcPts val="600"/>
              </a:spcAft>
            </a:pPr>
            <a:endParaRPr lang="en-US" dirty="0">
              <a:latin typeface="Arial" panose="020B0604020202020204" pitchFamily="34" charset="0"/>
              <a:cs typeface="Arial" panose="020B0604020202020204" pitchFamily="34" charset="0"/>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1720389"/>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271286" y="1150445"/>
            <a:ext cx="7611382" cy="3650199"/>
          </a:xfrm>
        </p:spPr>
        <p:txBody>
          <a:bodyPr vert="horz" lIns="91440" tIns="45720" rIns="91440" bIns="45720" rtlCol="0" anchor="ctr">
            <a:noAutofit/>
          </a:bodyPr>
          <a:lstStyle/>
          <a:p>
            <a:pPr algn="l" defTabSz="914400">
              <a:lnSpc>
                <a:spcPct val="90000"/>
              </a:lnSpc>
              <a:spcBef>
                <a:spcPct val="0"/>
              </a:spcBef>
            </a:pPr>
            <a:r>
              <a:rPr lang="en-US" sz="3200" dirty="0" err="1">
                <a:solidFill>
                  <a:schemeClr val="tx1"/>
                </a:solidFill>
              </a:rPr>
              <a:t>Thema</a:t>
            </a:r>
            <a:r>
              <a:rPr lang="en-US" sz="3200" dirty="0">
                <a:solidFill>
                  <a:schemeClr val="tx1"/>
                </a:solidFill>
              </a:rPr>
              <a:t>: </a:t>
            </a:r>
            <a:br>
              <a:rPr lang="en-US" sz="3200" b="0" dirty="0">
                <a:solidFill>
                  <a:schemeClr val="tx1"/>
                </a:solidFill>
              </a:rPr>
            </a:br>
            <a:r>
              <a:rPr lang="en-US" sz="3200" b="0" dirty="0" err="1">
                <a:solidFill>
                  <a:schemeClr val="tx1"/>
                </a:solidFill>
              </a:rPr>
              <a:t>Klimaatadaptieve</a:t>
            </a:r>
            <a:r>
              <a:rPr lang="en-US" sz="3200" b="0" dirty="0">
                <a:solidFill>
                  <a:schemeClr val="tx1"/>
                </a:solidFill>
              </a:rPr>
              <a:t> </a:t>
            </a:r>
            <a:r>
              <a:rPr lang="en-US" sz="3200" b="0" dirty="0" err="1">
                <a:solidFill>
                  <a:schemeClr val="tx1"/>
                </a:solidFill>
              </a:rPr>
              <a:t>landbouw</a:t>
            </a:r>
            <a:br>
              <a:rPr lang="en-US" sz="3200" dirty="0">
                <a:solidFill>
                  <a:schemeClr val="tx1"/>
                </a:solidFill>
              </a:rPr>
            </a:br>
            <a:br>
              <a:rPr lang="en-US" sz="3200" dirty="0">
                <a:solidFill>
                  <a:schemeClr val="tx1"/>
                </a:solidFill>
              </a:rPr>
            </a:br>
            <a:endParaRPr lang="en-US" sz="3200" b="0" dirty="0">
              <a:solidFill>
                <a:schemeClr val="tx1"/>
              </a:solidFill>
            </a:endParaRPr>
          </a:p>
        </p:txBody>
      </p:sp>
      <p:sp>
        <p:nvSpPr>
          <p:cNvPr id="3" name="Rechthoek 2">
            <a:extLst>
              <a:ext uri="{FF2B5EF4-FFF2-40B4-BE49-F238E27FC236}">
                <a16:creationId xmlns:a16="http://schemas.microsoft.com/office/drawing/2014/main" id="{66CA8A36-8AB0-46B2-A0A7-E17BB3811F34}"/>
              </a:ext>
            </a:extLst>
          </p:cNvPr>
          <p:cNvSpPr/>
          <p:nvPr/>
        </p:nvSpPr>
        <p:spPr>
          <a:xfrm>
            <a:off x="805543" y="2871982"/>
            <a:ext cx="4558309" cy="3181684"/>
          </a:xfrm>
          <a:prstGeom prst="rect">
            <a:avLst/>
          </a:prstGeom>
        </p:spPr>
        <p:txBody>
          <a:bodyPr vert="horz" lIns="91440" tIns="45720" rIns="91440" bIns="45720" rtlCol="0" anchor="t">
            <a:normAutofit/>
          </a:bodyPr>
          <a:lstStyle/>
          <a:p>
            <a:pPr defTabSz="914400">
              <a:lnSpc>
                <a:spcPct val="90000"/>
              </a:lnSpc>
              <a:spcAft>
                <a:spcPts val="600"/>
              </a:spcAft>
            </a:pPr>
            <a:endParaRPr lang="en-US" dirty="0">
              <a:latin typeface="Arial" panose="020B0604020202020204" pitchFamily="34" charset="0"/>
              <a:cs typeface="Arial" panose="020B0604020202020204" pitchFamily="34" charset="0"/>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484245"/>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801098" y="1396289"/>
            <a:ext cx="5277333" cy="1325563"/>
          </a:xfrm>
        </p:spPr>
        <p:txBody>
          <a:bodyPr vert="horz" lIns="91440" tIns="45720" rIns="91440" bIns="45720" rtlCol="0" anchor="ctr">
            <a:normAutofit/>
          </a:bodyPr>
          <a:lstStyle/>
          <a:p>
            <a:pPr algn="l" defTabSz="914400">
              <a:lnSpc>
                <a:spcPct val="90000"/>
              </a:lnSpc>
              <a:spcBef>
                <a:spcPct val="0"/>
              </a:spcBef>
            </a:pPr>
            <a:r>
              <a:rPr lang="en-US" sz="5400" dirty="0" err="1">
                <a:solidFill>
                  <a:schemeClr val="tx1"/>
                </a:solidFill>
              </a:rPr>
              <a:t>Inhoud</a:t>
            </a:r>
            <a:endParaRPr lang="en-US" sz="5400" dirty="0">
              <a:solidFill>
                <a:schemeClr val="tx1"/>
              </a:solidFill>
            </a:endParaRPr>
          </a:p>
        </p:txBody>
      </p:sp>
      <p:sp>
        <p:nvSpPr>
          <p:cNvPr id="3" name="Rechthoek 2">
            <a:extLst>
              <a:ext uri="{FF2B5EF4-FFF2-40B4-BE49-F238E27FC236}">
                <a16:creationId xmlns:a16="http://schemas.microsoft.com/office/drawing/2014/main" id="{66CA8A36-8AB0-46B2-A0A7-E17BB3811F34}"/>
              </a:ext>
            </a:extLst>
          </p:cNvPr>
          <p:cNvSpPr/>
          <p:nvPr/>
        </p:nvSpPr>
        <p:spPr>
          <a:xfrm>
            <a:off x="805543" y="2871982"/>
            <a:ext cx="4558309" cy="3181684"/>
          </a:xfrm>
          <a:prstGeom prst="rect">
            <a:avLst/>
          </a:prstGeom>
        </p:spPr>
        <p:txBody>
          <a:bodyPr vert="horz" lIns="91440" tIns="45720" rIns="91440" bIns="45720" rtlCol="0" anchor="t">
            <a:normAutofit/>
          </a:bodyPr>
          <a:lstStyle/>
          <a:p>
            <a:pPr indent="-228600" defTabSz="914400">
              <a:lnSpc>
                <a:spcPct val="90000"/>
              </a:lnSpc>
              <a:spcAft>
                <a:spcPts val="600"/>
              </a:spcAft>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571500" indent="-228600" defTabSz="914400">
              <a:lnSpc>
                <a:spcPct val="90000"/>
              </a:lnSpc>
              <a:spcAft>
                <a:spcPts val="600"/>
              </a:spcAft>
              <a:buFont typeface="Arial" panose="020B0604020202020204" pitchFamily="34" charset="0"/>
              <a:buChar char="•"/>
            </a:pPr>
            <a:r>
              <a:rPr lang="en-US" dirty="0" err="1">
                <a:latin typeface="Arial" panose="020B0604020202020204" pitchFamily="34" charset="0"/>
                <a:cs typeface="Arial" panose="020B0604020202020204" pitchFamily="34" charset="0"/>
              </a:rPr>
              <a:t>Introductie</a:t>
            </a:r>
            <a:endParaRPr lang="en-US" dirty="0">
              <a:latin typeface="Arial" panose="020B0604020202020204" pitchFamily="34" charset="0"/>
              <a:cs typeface="Arial" panose="020B0604020202020204" pitchFamily="34" charset="0"/>
            </a:endParaRPr>
          </a:p>
          <a:p>
            <a:pPr marL="571500" indent="-228600" defTabSz="914400">
              <a:lnSpc>
                <a:spcPct val="90000"/>
              </a:lnSpc>
              <a:spcAft>
                <a:spcPts val="600"/>
              </a:spcAft>
              <a:buFont typeface="Arial" panose="020B0604020202020204" pitchFamily="34" charset="0"/>
              <a:buChar char="•"/>
            </a:pPr>
            <a:r>
              <a:rPr lang="en-US" dirty="0" err="1">
                <a:latin typeface="Arial" panose="020B0604020202020204" pitchFamily="34" charset="0"/>
                <a:cs typeface="Arial" panose="020B0604020202020204" pitchFamily="34" charset="0"/>
              </a:rPr>
              <a:t>Pipelife</a:t>
            </a:r>
            <a:r>
              <a:rPr lang="en-US" dirty="0">
                <a:latin typeface="Arial" panose="020B0604020202020204" pitchFamily="34" charset="0"/>
                <a:cs typeface="Arial" panose="020B0604020202020204" pitchFamily="34" charset="0"/>
              </a:rPr>
              <a:t> in </a:t>
            </a:r>
            <a:r>
              <a:rPr lang="en-US" dirty="0" err="1">
                <a:latin typeface="Arial" panose="020B0604020202020204" pitchFamily="34" charset="0"/>
                <a:cs typeface="Arial" panose="020B0604020202020204" pitchFamily="34" charset="0"/>
              </a:rPr>
              <a:t>ee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otendop</a:t>
            </a:r>
            <a:endParaRPr lang="en-US" dirty="0">
              <a:latin typeface="Arial" panose="020B0604020202020204" pitchFamily="34" charset="0"/>
              <a:cs typeface="Arial" panose="020B0604020202020204" pitchFamily="34" charset="0"/>
            </a:endParaRPr>
          </a:p>
          <a:p>
            <a:pPr marL="571500" indent="-228600" defTabSz="914400">
              <a:lnSpc>
                <a:spcPct val="90000"/>
              </a:lnSpc>
              <a:spcAft>
                <a:spcPts val="600"/>
              </a:spcAft>
              <a:buFont typeface="Arial" panose="020B0604020202020204" pitchFamily="34" charset="0"/>
              <a:buChar char="•"/>
            </a:pPr>
            <a:r>
              <a:rPr lang="en-US" dirty="0" err="1">
                <a:latin typeface="Arial" panose="020B0604020202020204" pitchFamily="34" charset="0"/>
                <a:cs typeface="Arial" panose="020B0604020202020204" pitchFamily="34" charset="0"/>
              </a:rPr>
              <a:t>Resultate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onderzoek</a:t>
            </a:r>
            <a:r>
              <a:rPr lang="en-US" dirty="0">
                <a:latin typeface="Arial" panose="020B0604020202020204" pitchFamily="34" charset="0"/>
                <a:cs typeface="Arial" panose="020B0604020202020204" pitchFamily="34" charset="0"/>
              </a:rPr>
              <a:t> </a:t>
            </a:r>
          </a:p>
          <a:p>
            <a:pPr marL="571500" indent="-228600" defTabSz="914400">
              <a:lnSpc>
                <a:spcPct val="90000"/>
              </a:lnSpc>
              <a:spcAft>
                <a:spcPts val="600"/>
              </a:spcAft>
              <a:buFont typeface="Arial" panose="020B0604020202020204" pitchFamily="34" charset="0"/>
              <a:buChar char="•"/>
            </a:pPr>
            <a:r>
              <a:rPr lang="en-US" dirty="0">
                <a:latin typeface="Arial" panose="020B0604020202020204" pitchFamily="34" charset="0"/>
                <a:cs typeface="Arial" panose="020B0604020202020204" pitchFamily="34" charset="0"/>
              </a:rPr>
              <a:t>Van </a:t>
            </a:r>
            <a:r>
              <a:rPr lang="en-US" dirty="0" err="1">
                <a:latin typeface="Arial" panose="020B0604020202020204" pitchFamily="34" charset="0"/>
                <a:cs typeface="Arial" panose="020B0604020202020204" pitchFamily="34" charset="0"/>
              </a:rPr>
              <a:t>waardekete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aar</a:t>
            </a:r>
            <a:r>
              <a:rPr lang="en-US" dirty="0">
                <a:latin typeface="Arial" panose="020B0604020202020204" pitchFamily="34" charset="0"/>
                <a:cs typeface="Arial" panose="020B0604020202020204" pitchFamily="34" charset="0"/>
              </a:rPr>
              <a:t> eco-</a:t>
            </a:r>
            <a:r>
              <a:rPr lang="en-US" dirty="0" err="1">
                <a:latin typeface="Arial" panose="020B0604020202020204" pitchFamily="34" charset="0"/>
                <a:cs typeface="Arial" panose="020B0604020202020204" pitchFamily="34" charset="0"/>
              </a:rPr>
              <a:t>syseem</a:t>
            </a:r>
            <a:endParaRPr lang="en-US" dirty="0">
              <a:latin typeface="Arial" panose="020B0604020202020204" pitchFamily="34" charset="0"/>
              <a:cs typeface="Arial" panose="020B0604020202020204" pitchFamily="34" charset="0"/>
            </a:endParaRPr>
          </a:p>
          <a:p>
            <a:pPr marL="571500" indent="-228600" defTabSz="914400">
              <a:lnSpc>
                <a:spcPct val="90000"/>
              </a:lnSpc>
              <a:spcAft>
                <a:spcPts val="600"/>
              </a:spcAft>
              <a:buFont typeface="Arial" panose="020B0604020202020204" pitchFamily="34" charset="0"/>
              <a:buChar char="•"/>
            </a:pPr>
            <a:r>
              <a:rPr lang="en-US" dirty="0" err="1">
                <a:latin typeface="Arial" panose="020B0604020202020204" pitchFamily="34" charset="0"/>
                <a:cs typeface="Arial" panose="020B0604020202020204" pitchFamily="34" charset="0"/>
              </a:rPr>
              <a:t>Voorbeelden</a:t>
            </a:r>
            <a:endParaRPr lang="en-US" dirty="0">
              <a:latin typeface="Arial" panose="020B0604020202020204" pitchFamily="34" charset="0"/>
              <a:cs typeface="Arial" panose="020B0604020202020204" pitchFamily="34" charset="0"/>
            </a:endParaRPr>
          </a:p>
          <a:p>
            <a:pPr marL="571500" indent="-228600" defTabSz="914400">
              <a:lnSpc>
                <a:spcPct val="90000"/>
              </a:lnSpc>
              <a:spcAft>
                <a:spcPts val="600"/>
              </a:spcAft>
              <a:buFont typeface="Arial" panose="020B0604020202020204" pitchFamily="34" charset="0"/>
              <a:buChar char="•"/>
            </a:pPr>
            <a:r>
              <a:rPr lang="en-US" dirty="0" err="1">
                <a:latin typeface="Arial" panose="020B0604020202020204" pitchFamily="34" charset="0"/>
                <a:cs typeface="Arial" panose="020B0604020202020204" pitchFamily="34" charset="0"/>
              </a:rPr>
              <a:t>Essentiël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oorwaarde</a:t>
            </a:r>
            <a:endParaRPr lang="en-US" dirty="0">
              <a:latin typeface="Arial" panose="020B0604020202020204" pitchFamily="34" charset="0"/>
              <a:cs typeface="Arial" panose="020B0604020202020204" pitchFamily="34" charset="0"/>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2324938"/>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D85AF9C-061F-48D3-9507-3F4B52DC1A0E}"/>
              </a:ext>
            </a:extLst>
          </p:cNvPr>
          <p:cNvSpPr>
            <a:spLocks noGrp="1"/>
          </p:cNvSpPr>
          <p:nvPr>
            <p:ph type="dt" sz="half" idx="6"/>
          </p:nvPr>
        </p:nvSpPr>
        <p:spPr/>
        <p:txBody>
          <a:bodyPr/>
          <a:lstStyle/>
          <a:p>
            <a:pPr marL="12700">
              <a:lnSpc>
                <a:spcPts val="1430"/>
              </a:lnSpc>
            </a:pPr>
            <a:r>
              <a:rPr lang="nl-NL" spc="-10" dirty="0">
                <a:solidFill>
                  <a:srgbClr val="002F86"/>
                </a:solidFill>
              </a:rPr>
              <a:t>Wat wij kunnen doen:</a:t>
            </a:r>
          </a:p>
        </p:txBody>
      </p:sp>
      <p:sp>
        <p:nvSpPr>
          <p:cNvPr id="3" name="Titel 1">
            <a:extLst>
              <a:ext uri="{FF2B5EF4-FFF2-40B4-BE49-F238E27FC236}">
                <a16:creationId xmlns:a16="http://schemas.microsoft.com/office/drawing/2014/main" id="{9A5C36D6-2E0D-49D0-8457-6FE271D03F5E}"/>
              </a:ext>
            </a:extLst>
          </p:cNvPr>
          <p:cNvSpPr txBox="1">
            <a:spLocks/>
          </p:cNvSpPr>
          <p:nvPr/>
        </p:nvSpPr>
        <p:spPr>
          <a:xfrm>
            <a:off x="819926" y="1059005"/>
            <a:ext cx="5824714" cy="790115"/>
          </a:xfrm>
          <a:prstGeom prst="rect">
            <a:avLst/>
          </a:prstGeom>
        </p:spPr>
        <p:txBody>
          <a:bodyPr vert="horz" lIns="91440" tIns="45720" rIns="91440" bIns="45720" rtlCol="0" anchor="ctr">
            <a:noAutofit/>
          </a:bodyPr>
          <a:lstStyle>
            <a:lvl1pPr algn="l" defTabSz="685800" rtl="0" eaLnBrk="1" latinLnBrk="0" hangingPunct="1">
              <a:lnSpc>
                <a:spcPts val="33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a:lstStyle>
          <a:p>
            <a:pPr defTabSz="914400">
              <a:lnSpc>
                <a:spcPct val="90000"/>
              </a:lnSpc>
            </a:pPr>
            <a:r>
              <a:rPr lang="en-US" sz="3200" dirty="0" err="1"/>
              <a:t>Thema</a:t>
            </a:r>
            <a:r>
              <a:rPr lang="en-US" sz="3200" dirty="0"/>
              <a:t>: </a:t>
            </a:r>
            <a:br>
              <a:rPr lang="en-US" sz="3200" b="0" dirty="0"/>
            </a:br>
            <a:r>
              <a:rPr lang="en-US" sz="3200" b="0" dirty="0" err="1"/>
              <a:t>Klimaatadaptieve</a:t>
            </a:r>
            <a:r>
              <a:rPr lang="en-US" sz="3200" b="0" dirty="0"/>
              <a:t> </a:t>
            </a:r>
            <a:r>
              <a:rPr lang="en-US" sz="3200" b="0" dirty="0" err="1"/>
              <a:t>landbouw</a:t>
            </a:r>
            <a:br>
              <a:rPr lang="en-US" sz="3200" dirty="0"/>
            </a:br>
            <a:br>
              <a:rPr lang="en-US" sz="3200" dirty="0"/>
            </a:br>
            <a:endParaRPr lang="en-US" sz="3200" b="0" dirty="0"/>
          </a:p>
        </p:txBody>
      </p:sp>
      <p:sp>
        <p:nvSpPr>
          <p:cNvPr id="4" name="Tekstvak 3">
            <a:extLst>
              <a:ext uri="{FF2B5EF4-FFF2-40B4-BE49-F238E27FC236}">
                <a16:creationId xmlns:a16="http://schemas.microsoft.com/office/drawing/2014/main" id="{6CB4274C-0638-4E63-9488-55D9DF68F942}"/>
              </a:ext>
            </a:extLst>
          </p:cNvPr>
          <p:cNvSpPr txBox="1"/>
          <p:nvPr/>
        </p:nvSpPr>
        <p:spPr>
          <a:xfrm>
            <a:off x="718326" y="1652399"/>
            <a:ext cx="6319520" cy="4247317"/>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Huidige Initiatieven en pilots</a:t>
            </a:r>
          </a:p>
          <a:p>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b="1" dirty="0" err="1">
                <a:latin typeface="Arial" panose="020B0604020202020204" pitchFamily="34" charset="0"/>
                <a:cs typeface="Arial" panose="020B0604020202020204" pitchFamily="34" charset="0"/>
              </a:rPr>
              <a:t>Peilgestuurde</a:t>
            </a:r>
            <a:r>
              <a:rPr lang="nl-NL" b="1" dirty="0">
                <a:latin typeface="Arial" panose="020B0604020202020204" pitchFamily="34" charset="0"/>
                <a:cs typeface="Arial" panose="020B0604020202020204" pitchFamily="34" charset="0"/>
              </a:rPr>
              <a:t> drainage </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betaalbaarder maken</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Stroomvoorziening via zonnepanelen</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Gestuurd met sensoren</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Correctie voor </a:t>
            </a:r>
            <a:r>
              <a:rPr lang="nl-NL" dirty="0" err="1">
                <a:latin typeface="Arial" panose="020B0604020202020204" pitchFamily="34" charset="0"/>
                <a:cs typeface="Arial" panose="020B0604020202020204" pitchFamily="34" charset="0"/>
              </a:rPr>
              <a:t>weersmstandigheden</a:t>
            </a:r>
            <a:endParaRPr lang="nl-NL" dirty="0">
              <a:latin typeface="Arial" panose="020B0604020202020204" pitchFamily="34" charset="0"/>
              <a:cs typeface="Arial" panose="020B0604020202020204" pitchFamily="34" charset="0"/>
            </a:endParaRPr>
          </a:p>
          <a:p>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b="1" dirty="0">
                <a:latin typeface="Arial" panose="020B0604020202020204" pitchFamily="34" charset="0"/>
                <a:cs typeface="Arial" panose="020B0604020202020204" pitchFamily="34" charset="0"/>
              </a:rPr>
              <a:t>Experimenteren met nieuw materiaal</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PE Drainage buizen </a:t>
            </a:r>
          </a:p>
          <a:p>
            <a:pPr marL="1200036" lvl="2" indent="-285750">
              <a:buFont typeface="Arial" panose="020B0604020202020204" pitchFamily="34" charset="0"/>
              <a:buChar char="•"/>
            </a:pPr>
            <a:r>
              <a:rPr lang="nl-NL" dirty="0">
                <a:latin typeface="Arial" panose="020B0604020202020204" pitchFamily="34" charset="0"/>
                <a:cs typeface="Arial" panose="020B0604020202020204" pitchFamily="34" charset="0"/>
              </a:rPr>
              <a:t>Gerecycled materiaal</a:t>
            </a:r>
          </a:p>
          <a:p>
            <a:pPr marL="1200036" lvl="2" indent="-285750">
              <a:buFont typeface="Arial" panose="020B0604020202020204" pitchFamily="34" charset="0"/>
              <a:buChar char="•"/>
            </a:pPr>
            <a:r>
              <a:rPr lang="nl-NL" dirty="0">
                <a:latin typeface="Arial" panose="020B0604020202020204" pitchFamily="34" charset="0"/>
                <a:cs typeface="Arial" panose="020B0604020202020204" pitchFamily="34" charset="0"/>
              </a:rPr>
              <a:t>Bio-</a:t>
            </a:r>
            <a:r>
              <a:rPr lang="nl-NL" dirty="0" err="1">
                <a:latin typeface="Arial" panose="020B0604020202020204" pitchFamily="34" charset="0"/>
                <a:cs typeface="Arial" panose="020B0604020202020204" pitchFamily="34" charset="0"/>
              </a:rPr>
              <a:t>Based</a:t>
            </a:r>
            <a:endParaRPr lang="nl-NL" dirty="0">
              <a:latin typeface="Arial" panose="020B0604020202020204" pitchFamily="34" charset="0"/>
              <a:cs typeface="Arial" panose="020B0604020202020204" pitchFamily="34" charset="0"/>
            </a:endParaRP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Oplosbare buis</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Nieuw type </a:t>
            </a:r>
            <a:r>
              <a:rPr lang="nl-NL" dirty="0" err="1">
                <a:latin typeface="Arial" panose="020B0604020202020204" pitchFamily="34" charset="0"/>
                <a:cs typeface="Arial" panose="020B0604020202020204" pitchFamily="34" charset="0"/>
              </a:rPr>
              <a:t>ommanteling</a:t>
            </a:r>
            <a:endParaRPr lang="nl-NL" dirty="0">
              <a:latin typeface="Arial" panose="020B0604020202020204" pitchFamily="34" charset="0"/>
              <a:cs typeface="Arial" panose="020B0604020202020204" pitchFamily="34" charset="0"/>
            </a:endParaRPr>
          </a:p>
          <a:p>
            <a:pPr marL="742894" lvl="1"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4AE585AF-6E85-4E42-80E4-F8752EAFA6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0160" y="1543050"/>
            <a:ext cx="5676900" cy="3771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730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D85AF9C-061F-48D3-9507-3F4B52DC1A0E}"/>
              </a:ext>
            </a:extLst>
          </p:cNvPr>
          <p:cNvSpPr>
            <a:spLocks noGrp="1"/>
          </p:cNvSpPr>
          <p:nvPr>
            <p:ph type="dt" sz="half" idx="6"/>
          </p:nvPr>
        </p:nvSpPr>
        <p:spPr/>
        <p:txBody>
          <a:bodyPr/>
          <a:lstStyle/>
          <a:p>
            <a:pPr marL="12700">
              <a:lnSpc>
                <a:spcPts val="1430"/>
              </a:lnSpc>
            </a:pPr>
            <a:r>
              <a:rPr lang="nl-NL" spc="-10" dirty="0">
                <a:solidFill>
                  <a:srgbClr val="002F86"/>
                </a:solidFill>
              </a:rPr>
              <a:t>Wat wij kunnen doen:</a:t>
            </a:r>
          </a:p>
        </p:txBody>
      </p:sp>
      <p:sp>
        <p:nvSpPr>
          <p:cNvPr id="3" name="Titel 1">
            <a:extLst>
              <a:ext uri="{FF2B5EF4-FFF2-40B4-BE49-F238E27FC236}">
                <a16:creationId xmlns:a16="http://schemas.microsoft.com/office/drawing/2014/main" id="{9A5C36D6-2E0D-49D0-8457-6FE271D03F5E}"/>
              </a:ext>
            </a:extLst>
          </p:cNvPr>
          <p:cNvSpPr txBox="1">
            <a:spLocks/>
          </p:cNvSpPr>
          <p:nvPr/>
        </p:nvSpPr>
        <p:spPr>
          <a:xfrm>
            <a:off x="819926" y="1059005"/>
            <a:ext cx="5824714" cy="790115"/>
          </a:xfrm>
          <a:prstGeom prst="rect">
            <a:avLst/>
          </a:prstGeom>
        </p:spPr>
        <p:txBody>
          <a:bodyPr vert="horz" lIns="91440" tIns="45720" rIns="91440" bIns="45720" rtlCol="0" anchor="ctr">
            <a:noAutofit/>
          </a:bodyPr>
          <a:lstStyle>
            <a:lvl1pPr algn="l" defTabSz="685800" rtl="0" eaLnBrk="1" latinLnBrk="0" hangingPunct="1">
              <a:lnSpc>
                <a:spcPts val="33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a:lstStyle>
          <a:p>
            <a:pPr defTabSz="914400">
              <a:lnSpc>
                <a:spcPct val="90000"/>
              </a:lnSpc>
            </a:pPr>
            <a:r>
              <a:rPr lang="en-US" sz="3200" dirty="0" err="1"/>
              <a:t>Thema</a:t>
            </a:r>
            <a:r>
              <a:rPr lang="en-US" sz="3200" dirty="0"/>
              <a:t>: </a:t>
            </a:r>
            <a:br>
              <a:rPr lang="en-US" sz="3200" b="0" dirty="0"/>
            </a:br>
            <a:r>
              <a:rPr lang="en-US" sz="3200" b="0" dirty="0" err="1"/>
              <a:t>Klimaatadaptieve</a:t>
            </a:r>
            <a:r>
              <a:rPr lang="en-US" sz="3200" b="0" dirty="0"/>
              <a:t> </a:t>
            </a:r>
            <a:r>
              <a:rPr lang="en-US" sz="3200" b="0" dirty="0" err="1"/>
              <a:t>landbouw</a:t>
            </a:r>
            <a:br>
              <a:rPr lang="en-US" sz="3200" dirty="0"/>
            </a:br>
            <a:br>
              <a:rPr lang="en-US" sz="3200" dirty="0"/>
            </a:br>
            <a:endParaRPr lang="en-US" sz="3200" b="0" dirty="0"/>
          </a:p>
        </p:txBody>
      </p:sp>
      <p:sp>
        <p:nvSpPr>
          <p:cNvPr id="4" name="Tekstvak 3">
            <a:extLst>
              <a:ext uri="{FF2B5EF4-FFF2-40B4-BE49-F238E27FC236}">
                <a16:creationId xmlns:a16="http://schemas.microsoft.com/office/drawing/2014/main" id="{6CB4274C-0638-4E63-9488-55D9DF68F942}"/>
              </a:ext>
            </a:extLst>
          </p:cNvPr>
          <p:cNvSpPr txBox="1"/>
          <p:nvPr/>
        </p:nvSpPr>
        <p:spPr>
          <a:xfrm>
            <a:off x="718326" y="1652399"/>
            <a:ext cx="6319520" cy="3416320"/>
          </a:xfrm>
          <a:prstGeom prst="rect">
            <a:avLst/>
          </a:prstGeom>
          <a:noFill/>
        </p:spPr>
        <p:txBody>
          <a:bodyPr wrap="square" rtlCol="0">
            <a:spAutoFit/>
          </a:bodyPr>
          <a:lstStyle/>
          <a:p>
            <a:r>
              <a:rPr lang="nl-NL" dirty="0">
                <a:latin typeface="Arial" panose="020B0604020202020204" pitchFamily="34" charset="0"/>
                <a:cs typeface="Arial" panose="020B0604020202020204" pitchFamily="34" charset="0"/>
              </a:rPr>
              <a:t>Huidige Initiatieven en pilots</a:t>
            </a:r>
          </a:p>
          <a:p>
            <a:endParaRPr lang="nl-NL" dirty="0">
              <a:latin typeface="Arial" panose="020B0604020202020204" pitchFamily="34" charset="0"/>
              <a:cs typeface="Arial" panose="020B0604020202020204" pitchFamily="34" charset="0"/>
            </a:endParaRPr>
          </a:p>
          <a:p>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b="1" dirty="0">
                <a:latin typeface="Arial" panose="020B0604020202020204" pitchFamily="34" charset="0"/>
                <a:cs typeface="Arial" panose="020B0604020202020204" pitchFamily="34" charset="0"/>
              </a:rPr>
              <a:t>Samenwerkingsinitiatief </a:t>
            </a:r>
            <a:r>
              <a:rPr lang="nl-NL" b="1" dirty="0" err="1">
                <a:latin typeface="Arial" panose="020B0604020202020204" pitchFamily="34" charset="0"/>
                <a:cs typeface="Arial" panose="020B0604020202020204" pitchFamily="34" charset="0"/>
              </a:rPr>
              <a:t>ZoetWaterBoeren</a:t>
            </a:r>
            <a:endParaRPr lang="nl-NL" b="1" dirty="0">
              <a:latin typeface="Arial" panose="020B0604020202020204" pitchFamily="34" charset="0"/>
              <a:cs typeface="Arial" panose="020B0604020202020204" pitchFamily="34" charset="0"/>
            </a:endParaRP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Plaatselijk zoetwaterbeheer</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Onderzoek verschillende drainage systemen </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Land als buffer</a:t>
            </a:r>
          </a:p>
          <a:p>
            <a:pPr marL="285750"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b="1" dirty="0">
                <a:latin typeface="Arial" panose="020B0604020202020204" pitchFamily="34" charset="0"/>
                <a:cs typeface="Arial" panose="020B0604020202020204" pitchFamily="34" charset="0"/>
              </a:rPr>
              <a:t>Verwijderen oud drainage materiaal </a:t>
            </a:r>
          </a:p>
          <a:p>
            <a:pPr marL="742894" lvl="1" indent="-285750">
              <a:buFont typeface="Arial" panose="020B0604020202020204" pitchFamily="34" charset="0"/>
              <a:buChar char="•"/>
            </a:pPr>
            <a:r>
              <a:rPr lang="nl-NL" dirty="0">
                <a:latin typeface="Arial" panose="020B0604020202020204" pitchFamily="34" charset="0"/>
                <a:cs typeface="Arial" panose="020B0604020202020204" pitchFamily="34" charset="0"/>
              </a:rPr>
              <a:t>Ontwikkeling verwijdertool</a:t>
            </a:r>
          </a:p>
          <a:p>
            <a:pPr marL="742894" lvl="1"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a:p>
            <a:endParaRPr lang="nl-NL" dirty="0">
              <a:latin typeface="Arial" panose="020B0604020202020204" pitchFamily="34" charset="0"/>
              <a:cs typeface="Arial" panose="020B0604020202020204" pitchFamily="34" charset="0"/>
            </a:endParaRPr>
          </a:p>
        </p:txBody>
      </p:sp>
      <p:pic>
        <p:nvPicPr>
          <p:cNvPr id="6" name="Picture 2">
            <a:extLst>
              <a:ext uri="{FF2B5EF4-FFF2-40B4-BE49-F238E27FC236}">
                <a16:creationId xmlns:a16="http://schemas.microsoft.com/office/drawing/2014/main" id="{4C9E0C85-6EE7-4783-A16A-B6D96BEC732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55" t="3156" r="3539" b="11914"/>
          <a:stretch/>
        </p:blipFill>
        <p:spPr bwMode="auto">
          <a:xfrm>
            <a:off x="6644640" y="1412240"/>
            <a:ext cx="5547360" cy="3656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012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220885" y="825537"/>
            <a:ext cx="7611382" cy="3650199"/>
          </a:xfrm>
        </p:spPr>
        <p:txBody>
          <a:bodyPr vert="horz" lIns="91440" tIns="45720" rIns="91440" bIns="45720" rtlCol="0" anchor="ctr">
            <a:normAutofit/>
          </a:bodyPr>
          <a:lstStyle/>
          <a:p>
            <a:pPr algn="l" defTabSz="914400">
              <a:lnSpc>
                <a:spcPct val="90000"/>
              </a:lnSpc>
              <a:spcBef>
                <a:spcPct val="0"/>
              </a:spcBef>
            </a:pPr>
            <a:r>
              <a:rPr lang="en-US" sz="3200" dirty="0" err="1">
                <a:solidFill>
                  <a:schemeClr val="tx1"/>
                </a:solidFill>
              </a:rPr>
              <a:t>Thema</a:t>
            </a:r>
            <a:r>
              <a:rPr lang="en-US" sz="3200" dirty="0">
                <a:solidFill>
                  <a:schemeClr val="tx1"/>
                </a:solidFill>
              </a:rPr>
              <a:t>: </a:t>
            </a:r>
            <a:br>
              <a:rPr lang="en-US" sz="3200" dirty="0">
                <a:solidFill>
                  <a:schemeClr val="tx1"/>
                </a:solidFill>
              </a:rPr>
            </a:br>
            <a:r>
              <a:rPr lang="en-US" sz="3200" b="0" dirty="0" err="1">
                <a:solidFill>
                  <a:schemeClr val="tx1"/>
                </a:solidFill>
              </a:rPr>
              <a:t>Toekomstbestendige</a:t>
            </a:r>
            <a:r>
              <a:rPr lang="en-US" sz="3200" b="0" dirty="0">
                <a:solidFill>
                  <a:schemeClr val="tx1"/>
                </a:solidFill>
              </a:rPr>
              <a:t> </a:t>
            </a:r>
            <a:r>
              <a:rPr lang="en-US" sz="3200" b="0" dirty="0" err="1">
                <a:solidFill>
                  <a:schemeClr val="tx1"/>
                </a:solidFill>
              </a:rPr>
              <a:t>Drinkwatervoorzieningen</a:t>
            </a:r>
            <a:endParaRPr lang="en-US" sz="3200" b="0" dirty="0">
              <a:solidFill>
                <a:schemeClr val="tx1"/>
              </a:solidFill>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003559"/>
      </p:ext>
    </p:extLst>
  </p:cSld>
  <p:clrMapOvr>
    <a:overrideClrMapping bg1="dk1" tx1="lt1" bg2="dk2" tx2="lt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D85AF9C-061F-48D3-9507-3F4B52DC1A0E}"/>
              </a:ext>
            </a:extLst>
          </p:cNvPr>
          <p:cNvSpPr>
            <a:spLocks noGrp="1"/>
          </p:cNvSpPr>
          <p:nvPr>
            <p:ph type="dt" sz="half" idx="6"/>
          </p:nvPr>
        </p:nvSpPr>
        <p:spPr/>
        <p:txBody>
          <a:bodyPr/>
          <a:lstStyle/>
          <a:p>
            <a:pPr marL="12700">
              <a:lnSpc>
                <a:spcPts val="1430"/>
              </a:lnSpc>
            </a:pPr>
            <a:r>
              <a:rPr lang="nl-NL" spc="-10" dirty="0">
                <a:solidFill>
                  <a:srgbClr val="002F86"/>
                </a:solidFill>
              </a:rPr>
              <a:t>Wat wij kunnen doen:</a:t>
            </a:r>
          </a:p>
        </p:txBody>
      </p:sp>
      <p:sp>
        <p:nvSpPr>
          <p:cNvPr id="4" name="Titel 1">
            <a:extLst>
              <a:ext uri="{FF2B5EF4-FFF2-40B4-BE49-F238E27FC236}">
                <a16:creationId xmlns:a16="http://schemas.microsoft.com/office/drawing/2014/main" id="{0C123E92-912B-4986-8CC6-2FFA7699C1F3}"/>
              </a:ext>
            </a:extLst>
          </p:cNvPr>
          <p:cNvSpPr txBox="1">
            <a:spLocks/>
          </p:cNvSpPr>
          <p:nvPr/>
        </p:nvSpPr>
        <p:spPr>
          <a:xfrm>
            <a:off x="515524" y="612177"/>
            <a:ext cx="10802715" cy="1094703"/>
          </a:xfrm>
          <a:prstGeom prst="rect">
            <a:avLst/>
          </a:prstGeom>
        </p:spPr>
        <p:txBody>
          <a:bodyPr vert="horz" lIns="91440" tIns="45720" rIns="91440" bIns="45720" rtlCol="0" anchor="ctr">
            <a:normAutofit/>
          </a:bodyPr>
          <a:lstStyle>
            <a:lvl1pPr algn="l" defTabSz="685800" rtl="0" eaLnBrk="1" latinLnBrk="0" hangingPunct="1">
              <a:lnSpc>
                <a:spcPts val="33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a:lstStyle>
          <a:p>
            <a:pPr defTabSz="914400">
              <a:lnSpc>
                <a:spcPct val="90000"/>
              </a:lnSpc>
            </a:pPr>
            <a:r>
              <a:rPr lang="en-US" sz="3200" dirty="0" err="1"/>
              <a:t>Thema</a:t>
            </a:r>
            <a:r>
              <a:rPr lang="en-US" sz="3200" dirty="0"/>
              <a:t>: </a:t>
            </a:r>
            <a:br>
              <a:rPr lang="en-US" sz="3200" dirty="0"/>
            </a:br>
            <a:r>
              <a:rPr lang="en-US" sz="3200" b="0" dirty="0" err="1"/>
              <a:t>Toekomstbestendige</a:t>
            </a:r>
            <a:r>
              <a:rPr lang="en-US" sz="3200" b="0" dirty="0"/>
              <a:t> </a:t>
            </a:r>
            <a:r>
              <a:rPr lang="en-US" sz="3200" b="0" dirty="0" err="1"/>
              <a:t>Drinkwatervoorzieningen</a:t>
            </a:r>
            <a:endParaRPr lang="en-US" sz="3200" b="0" dirty="0"/>
          </a:p>
        </p:txBody>
      </p:sp>
      <p:sp>
        <p:nvSpPr>
          <p:cNvPr id="6" name="AutoShape 2">
            <a:extLst>
              <a:ext uri="{FF2B5EF4-FFF2-40B4-BE49-F238E27FC236}">
                <a16:creationId xmlns:a16="http://schemas.microsoft.com/office/drawing/2014/main" id="{CB4E6C8D-99B8-4E2B-B0C8-12B5282CD9F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 name="Tekstvak 7">
            <a:extLst>
              <a:ext uri="{FF2B5EF4-FFF2-40B4-BE49-F238E27FC236}">
                <a16:creationId xmlns:a16="http://schemas.microsoft.com/office/drawing/2014/main" id="{4A598123-E28B-4E33-8D60-46B8CE14EA7F}"/>
              </a:ext>
            </a:extLst>
          </p:cNvPr>
          <p:cNvSpPr txBox="1"/>
          <p:nvPr/>
        </p:nvSpPr>
        <p:spPr>
          <a:xfrm>
            <a:off x="734338" y="1678284"/>
            <a:ext cx="6319520" cy="3693319"/>
          </a:xfrm>
          <a:prstGeom prst="rect">
            <a:avLst/>
          </a:prstGeom>
          <a:noFill/>
        </p:spPr>
        <p:txBody>
          <a:bodyPr wrap="square" rtlCol="0">
            <a:spAutoFit/>
          </a:bodyPr>
          <a:lstStyle/>
          <a:p>
            <a:endParaRPr lang="nl-NL" dirty="0">
              <a:latin typeface="Arial" panose="020B0604020202020204" pitchFamily="34" charset="0"/>
              <a:cs typeface="Arial" panose="020B0604020202020204" pitchFamily="34" charset="0"/>
            </a:endParaRPr>
          </a:p>
          <a:p>
            <a:r>
              <a:rPr lang="nl-NL" b="1" dirty="0">
                <a:latin typeface="Arial" panose="020B0604020202020204" pitchFamily="34" charset="0"/>
                <a:cs typeface="Arial" panose="020B0604020202020204" pitchFamily="34" charset="0"/>
              </a:rPr>
              <a:t>Marktinformatie </a:t>
            </a:r>
          </a:p>
          <a:p>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latin typeface="Arial" panose="020B0604020202020204" pitchFamily="34" charset="0"/>
                <a:cs typeface="Arial" panose="020B0604020202020204" pitchFamily="34" charset="0"/>
              </a:rPr>
              <a:t>Hoe lang kan een buis daadwerkelijk mee? </a:t>
            </a:r>
            <a:br>
              <a:rPr lang="nl-NL" dirty="0">
                <a:latin typeface="Arial" panose="020B0604020202020204" pitchFamily="34" charset="0"/>
                <a:cs typeface="Arial" panose="020B0604020202020204" pitchFamily="34" charset="0"/>
              </a:rPr>
            </a:br>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latin typeface="Arial" panose="020B0604020202020204" pitchFamily="34" charset="0"/>
                <a:cs typeface="Arial" panose="020B0604020202020204" pitchFamily="34" charset="0"/>
              </a:rPr>
              <a:t>Wens om meer te weten over hoe het water stroomt</a:t>
            </a:r>
            <a:br>
              <a:rPr lang="nl-NL" dirty="0">
                <a:latin typeface="Arial" panose="020B0604020202020204" pitchFamily="34" charset="0"/>
                <a:cs typeface="Arial" panose="020B0604020202020204" pitchFamily="34" charset="0"/>
              </a:rPr>
            </a:br>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latin typeface="Arial" panose="020B0604020202020204" pitchFamily="34" charset="0"/>
                <a:cs typeface="Arial" panose="020B0604020202020204" pitchFamily="34" charset="0"/>
              </a:rPr>
              <a:t>Wens om hydraulische modellen te kalibreren</a:t>
            </a:r>
          </a:p>
          <a:p>
            <a:pPr marL="285750"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nl-NL" dirty="0">
              <a:latin typeface="Arial" panose="020B0604020202020204" pitchFamily="34" charset="0"/>
              <a:cs typeface="Arial" panose="020B0604020202020204" pitchFamily="34" charset="0"/>
            </a:endParaRPr>
          </a:p>
          <a:p>
            <a:pPr lvl="1"/>
            <a:endParaRPr lang="nl-NL" dirty="0">
              <a:latin typeface="Arial" panose="020B0604020202020204" pitchFamily="34" charset="0"/>
              <a:cs typeface="Arial" panose="020B0604020202020204" pitchFamily="34" charset="0"/>
            </a:endParaRPr>
          </a:p>
        </p:txBody>
      </p:sp>
      <p:pic>
        <p:nvPicPr>
          <p:cNvPr id="11" name="object 4">
            <a:extLst>
              <a:ext uri="{FF2B5EF4-FFF2-40B4-BE49-F238E27FC236}">
                <a16:creationId xmlns:a16="http://schemas.microsoft.com/office/drawing/2014/main" id="{946D9A19-EC8C-4E00-B061-757CC5933A13}"/>
              </a:ext>
            </a:extLst>
          </p:cNvPr>
          <p:cNvPicPr/>
          <p:nvPr/>
        </p:nvPicPr>
        <p:blipFill>
          <a:blip r:embed="rId2" cstate="print"/>
          <a:stretch>
            <a:fillRect/>
          </a:stretch>
        </p:blipFill>
        <p:spPr>
          <a:xfrm>
            <a:off x="10141087" y="1292197"/>
            <a:ext cx="1437886" cy="1027115"/>
          </a:xfrm>
          <a:prstGeom prst="rect">
            <a:avLst/>
          </a:prstGeom>
        </p:spPr>
      </p:pic>
      <p:pic>
        <p:nvPicPr>
          <p:cNvPr id="12" name="object 5">
            <a:extLst>
              <a:ext uri="{FF2B5EF4-FFF2-40B4-BE49-F238E27FC236}">
                <a16:creationId xmlns:a16="http://schemas.microsoft.com/office/drawing/2014/main" id="{89ED919A-D8A9-4E4D-8A5E-1E5454A802F3}"/>
              </a:ext>
            </a:extLst>
          </p:cNvPr>
          <p:cNvPicPr/>
          <p:nvPr/>
        </p:nvPicPr>
        <p:blipFill>
          <a:blip r:embed="rId3" cstate="print"/>
          <a:stretch>
            <a:fillRect/>
          </a:stretch>
        </p:blipFill>
        <p:spPr>
          <a:xfrm>
            <a:off x="8392089" y="2639909"/>
            <a:ext cx="1269940" cy="921550"/>
          </a:xfrm>
          <a:prstGeom prst="rect">
            <a:avLst/>
          </a:prstGeom>
        </p:spPr>
      </p:pic>
      <p:pic>
        <p:nvPicPr>
          <p:cNvPr id="13" name="object 6">
            <a:extLst>
              <a:ext uri="{FF2B5EF4-FFF2-40B4-BE49-F238E27FC236}">
                <a16:creationId xmlns:a16="http://schemas.microsoft.com/office/drawing/2014/main" id="{0EE5FF26-AB18-4A24-B213-20CE1D2DCDB1}"/>
              </a:ext>
            </a:extLst>
          </p:cNvPr>
          <p:cNvPicPr/>
          <p:nvPr/>
        </p:nvPicPr>
        <p:blipFill>
          <a:blip r:embed="rId4" cstate="print"/>
          <a:stretch>
            <a:fillRect/>
          </a:stretch>
        </p:blipFill>
        <p:spPr>
          <a:xfrm>
            <a:off x="10256951" y="2997607"/>
            <a:ext cx="1322022" cy="744470"/>
          </a:xfrm>
          <a:prstGeom prst="rect">
            <a:avLst/>
          </a:prstGeom>
        </p:spPr>
      </p:pic>
      <p:pic>
        <p:nvPicPr>
          <p:cNvPr id="14" name="object 7">
            <a:extLst>
              <a:ext uri="{FF2B5EF4-FFF2-40B4-BE49-F238E27FC236}">
                <a16:creationId xmlns:a16="http://schemas.microsoft.com/office/drawing/2014/main" id="{12BE93AF-5C18-46E7-8E72-9F1B49C3E44C}"/>
              </a:ext>
            </a:extLst>
          </p:cNvPr>
          <p:cNvPicPr/>
          <p:nvPr/>
        </p:nvPicPr>
        <p:blipFill>
          <a:blip r:embed="rId5" cstate="print"/>
          <a:stretch>
            <a:fillRect/>
          </a:stretch>
        </p:blipFill>
        <p:spPr>
          <a:xfrm>
            <a:off x="5528116" y="5230971"/>
            <a:ext cx="1289244" cy="1295829"/>
          </a:xfrm>
          <a:prstGeom prst="rect">
            <a:avLst/>
          </a:prstGeom>
        </p:spPr>
      </p:pic>
      <p:pic>
        <p:nvPicPr>
          <p:cNvPr id="15" name="object 8">
            <a:extLst>
              <a:ext uri="{FF2B5EF4-FFF2-40B4-BE49-F238E27FC236}">
                <a16:creationId xmlns:a16="http://schemas.microsoft.com/office/drawing/2014/main" id="{D9117B37-0F88-4260-9A61-4319C1168FFA}"/>
              </a:ext>
            </a:extLst>
          </p:cNvPr>
          <p:cNvPicPr/>
          <p:nvPr/>
        </p:nvPicPr>
        <p:blipFill>
          <a:blip r:embed="rId6" cstate="print"/>
          <a:stretch>
            <a:fillRect/>
          </a:stretch>
        </p:blipFill>
        <p:spPr>
          <a:xfrm>
            <a:off x="7541723" y="4069490"/>
            <a:ext cx="1303840" cy="1444460"/>
          </a:xfrm>
          <a:prstGeom prst="rect">
            <a:avLst/>
          </a:prstGeom>
        </p:spPr>
      </p:pic>
      <p:pic>
        <p:nvPicPr>
          <p:cNvPr id="16" name="object 9">
            <a:extLst>
              <a:ext uri="{FF2B5EF4-FFF2-40B4-BE49-F238E27FC236}">
                <a16:creationId xmlns:a16="http://schemas.microsoft.com/office/drawing/2014/main" id="{D791F9BC-F360-46D3-8726-68B5EBF8F294}"/>
              </a:ext>
            </a:extLst>
          </p:cNvPr>
          <p:cNvPicPr/>
          <p:nvPr/>
        </p:nvPicPr>
        <p:blipFill>
          <a:blip r:embed="rId7" cstate="print"/>
          <a:stretch>
            <a:fillRect/>
          </a:stretch>
        </p:blipFill>
        <p:spPr>
          <a:xfrm>
            <a:off x="9333429" y="4791720"/>
            <a:ext cx="2492412" cy="641199"/>
          </a:xfrm>
          <a:prstGeom prst="rect">
            <a:avLst/>
          </a:prstGeom>
        </p:spPr>
      </p:pic>
    </p:spTree>
    <p:extLst>
      <p:ext uri="{BB962C8B-B14F-4D97-AF65-F5344CB8AC3E}">
        <p14:creationId xmlns:p14="http://schemas.microsoft.com/office/powerpoint/2010/main" val="744117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bject 5"/>
          <p:cNvSpPr txBox="1">
            <a:spLocks noGrp="1"/>
          </p:cNvSpPr>
          <p:nvPr>
            <p:ph type="title"/>
          </p:nvPr>
        </p:nvSpPr>
        <p:spPr>
          <a:xfrm>
            <a:off x="4965430" y="629268"/>
            <a:ext cx="6586491" cy="1286160"/>
          </a:xfrm>
          <a:prstGeom prst="rect">
            <a:avLst/>
          </a:prstGeom>
        </p:spPr>
        <p:txBody>
          <a:bodyPr vert="horz" lIns="91440" tIns="45720" rIns="91440" bIns="45720" rtlCol="0" anchor="b">
            <a:normAutofit/>
          </a:bodyPr>
          <a:lstStyle/>
          <a:p>
            <a:pPr marL="12700" defTabSz="914400">
              <a:lnSpc>
                <a:spcPct val="90000"/>
              </a:lnSpc>
            </a:pPr>
            <a:r>
              <a:rPr lang="en-US" sz="4400" spc="-10">
                <a:solidFill>
                  <a:schemeClr val="tx1"/>
                </a:solidFill>
                <a:latin typeface="+mj-lt"/>
                <a:cs typeface="+mj-cs"/>
              </a:rPr>
              <a:t> </a:t>
            </a:r>
            <a:r>
              <a:rPr lang="en-US" sz="4400">
                <a:solidFill>
                  <a:schemeClr val="tx1"/>
                </a:solidFill>
                <a:latin typeface="+mj-lt"/>
                <a:cs typeface="+mj-cs"/>
              </a:rPr>
              <a:t>Smart Probing Oplossing</a:t>
            </a:r>
          </a:p>
        </p:txBody>
      </p:sp>
      <p:sp>
        <p:nvSpPr>
          <p:cNvPr id="3" name="object 3"/>
          <p:cNvSpPr txBox="1"/>
          <p:nvPr/>
        </p:nvSpPr>
        <p:spPr>
          <a:xfrm>
            <a:off x="4965431" y="2438400"/>
            <a:ext cx="6586489" cy="3785419"/>
          </a:xfrm>
          <a:prstGeom prst="rect">
            <a:avLst/>
          </a:prstGeom>
        </p:spPr>
        <p:txBody>
          <a:bodyPr vert="horz" lIns="91440" tIns="45720" rIns="91440" bIns="45720" rtlCol="0">
            <a:normAutofit/>
          </a:bodyPr>
          <a:lstStyle/>
          <a:p>
            <a:pPr marL="234950" indent="-228600" defTabSz="914400">
              <a:lnSpc>
                <a:spcPct val="90000"/>
              </a:lnSpc>
              <a:spcBef>
                <a:spcPts val="1775"/>
              </a:spcBef>
              <a:buFont typeface="Arial" panose="020B0604020202020204" pitchFamily="34" charset="0"/>
              <a:buChar char="•"/>
              <a:tabLst>
                <a:tab pos="235585" algn="l"/>
              </a:tabLst>
            </a:pPr>
            <a:r>
              <a:rPr lang="en-US" sz="2000" dirty="0" err="1"/>
              <a:t>Autonoom</a:t>
            </a:r>
            <a:r>
              <a:rPr lang="en-US" sz="2000" dirty="0"/>
              <a:t> </a:t>
            </a:r>
            <a:r>
              <a:rPr lang="en-US" sz="2000" dirty="0" err="1"/>
              <a:t>en</a:t>
            </a:r>
            <a:r>
              <a:rPr lang="en-US" sz="2000" dirty="0"/>
              <a:t> </a:t>
            </a:r>
            <a:r>
              <a:rPr lang="en-US" sz="2000" dirty="0" err="1"/>
              <a:t>continu</a:t>
            </a:r>
            <a:r>
              <a:rPr lang="en-US" sz="2000" dirty="0"/>
              <a:t> </a:t>
            </a:r>
            <a:r>
              <a:rPr lang="en-US" sz="2000" dirty="0" err="1"/>
              <a:t>meten</a:t>
            </a:r>
            <a:endParaRPr lang="en-US" sz="2000" dirty="0"/>
          </a:p>
          <a:p>
            <a:pPr marL="234950" indent="-228600" defTabSz="914400">
              <a:lnSpc>
                <a:spcPct val="90000"/>
              </a:lnSpc>
              <a:spcBef>
                <a:spcPts val="1680"/>
              </a:spcBef>
              <a:buFont typeface="Arial" panose="020B0604020202020204" pitchFamily="34" charset="0"/>
              <a:buChar char="•"/>
              <a:tabLst>
                <a:tab pos="235585" algn="l"/>
              </a:tabLst>
            </a:pPr>
            <a:r>
              <a:rPr lang="en-US" sz="2000" dirty="0"/>
              <a:t>Data direct </a:t>
            </a:r>
            <a:r>
              <a:rPr lang="en-US" sz="2000" dirty="0" err="1"/>
              <a:t>vanuit</a:t>
            </a:r>
            <a:r>
              <a:rPr lang="en-US" sz="2000" dirty="0"/>
              <a:t> het </a:t>
            </a:r>
            <a:r>
              <a:rPr lang="en-US" sz="2000" dirty="0" err="1"/>
              <a:t>netwerk</a:t>
            </a:r>
            <a:endParaRPr lang="en-US" sz="2000" dirty="0"/>
          </a:p>
          <a:p>
            <a:pPr marL="234950" indent="-228600" defTabSz="914400">
              <a:lnSpc>
                <a:spcPct val="90000"/>
              </a:lnSpc>
              <a:spcBef>
                <a:spcPts val="1680"/>
              </a:spcBef>
              <a:buFont typeface="Arial" panose="020B0604020202020204" pitchFamily="34" charset="0"/>
              <a:buChar char="•"/>
              <a:tabLst>
                <a:tab pos="235585" algn="l"/>
              </a:tabLst>
            </a:pPr>
            <a:r>
              <a:rPr lang="en-US" sz="2000" dirty="0" err="1"/>
              <a:t>Naar</a:t>
            </a:r>
            <a:r>
              <a:rPr lang="en-US" sz="2000" dirty="0"/>
              <a:t> </a:t>
            </a:r>
            <a:r>
              <a:rPr lang="en-US" sz="2000" dirty="0" err="1"/>
              <a:t>een</a:t>
            </a:r>
            <a:r>
              <a:rPr lang="en-US" sz="2000" dirty="0"/>
              <a:t> </a:t>
            </a:r>
            <a:r>
              <a:rPr lang="en-US" sz="2000" dirty="0" err="1"/>
              <a:t>veilig</a:t>
            </a:r>
            <a:r>
              <a:rPr lang="en-US" sz="2000" dirty="0"/>
              <a:t> platform</a:t>
            </a:r>
          </a:p>
          <a:p>
            <a:pPr indent="-228600" defTabSz="914400">
              <a:lnSpc>
                <a:spcPct val="90000"/>
              </a:lnSpc>
              <a:spcBef>
                <a:spcPts val="35"/>
              </a:spcBef>
              <a:buClr>
                <a:srgbClr val="1B3C83"/>
              </a:buClr>
              <a:buFont typeface="Arial" panose="020B0604020202020204" pitchFamily="34" charset="0"/>
              <a:buChar char="•"/>
            </a:pPr>
            <a:endParaRPr lang="en-US" sz="2000" dirty="0"/>
          </a:p>
          <a:p>
            <a:pPr marL="208915" marR="1623695" indent="-228600" defTabSz="914400">
              <a:lnSpc>
                <a:spcPct val="90000"/>
              </a:lnSpc>
              <a:spcBef>
                <a:spcPts val="5"/>
              </a:spcBef>
              <a:buClr>
                <a:srgbClr val="1B3C83"/>
              </a:buClr>
              <a:buFont typeface="Arial" panose="020B0604020202020204" pitchFamily="34" charset="0"/>
              <a:buChar char="•"/>
              <a:tabLst>
                <a:tab pos="235585" algn="l"/>
              </a:tabLst>
            </a:pPr>
            <a:r>
              <a:rPr lang="en-US" sz="2000" dirty="0"/>
              <a:t>	</a:t>
            </a:r>
            <a:r>
              <a:rPr lang="en-US" sz="2000" dirty="0" err="1"/>
              <a:t>Makkelijk</a:t>
            </a:r>
            <a:r>
              <a:rPr lang="en-US" sz="2000" dirty="0"/>
              <a:t> </a:t>
            </a:r>
            <a:r>
              <a:rPr lang="en-US" sz="2000" dirty="0" err="1"/>
              <a:t>installeerbaar</a:t>
            </a:r>
            <a:r>
              <a:rPr lang="en-US" sz="2000" dirty="0"/>
              <a:t> </a:t>
            </a:r>
          </a:p>
          <a:p>
            <a:pPr marL="208915" marR="1623695" indent="-228600" defTabSz="914400">
              <a:lnSpc>
                <a:spcPct val="90000"/>
              </a:lnSpc>
              <a:spcBef>
                <a:spcPts val="5"/>
              </a:spcBef>
              <a:buClr>
                <a:srgbClr val="1B3C83"/>
              </a:buClr>
              <a:buFont typeface="Arial" panose="020B0604020202020204" pitchFamily="34" charset="0"/>
              <a:buChar char="•"/>
              <a:tabLst>
                <a:tab pos="235585" algn="l"/>
              </a:tabLst>
            </a:pPr>
            <a:endParaRPr lang="en-US" sz="2000" dirty="0"/>
          </a:p>
          <a:p>
            <a:pPr marL="208915" marR="1623695" indent="-228600" defTabSz="914400">
              <a:lnSpc>
                <a:spcPct val="90000"/>
              </a:lnSpc>
              <a:spcBef>
                <a:spcPts val="5"/>
              </a:spcBef>
              <a:buClr>
                <a:srgbClr val="1B3C83"/>
              </a:buClr>
              <a:buFont typeface="Arial" panose="020B0604020202020204" pitchFamily="34" charset="0"/>
              <a:buChar char="•"/>
              <a:tabLst>
                <a:tab pos="235585" algn="l"/>
              </a:tabLst>
            </a:pPr>
            <a:r>
              <a:rPr lang="en-US" sz="2000" dirty="0" err="1"/>
              <a:t>Laag</a:t>
            </a:r>
            <a:r>
              <a:rPr lang="en-US" sz="2000" dirty="0"/>
              <a:t> in </a:t>
            </a:r>
            <a:r>
              <a:rPr lang="en-US" sz="2000" dirty="0" err="1"/>
              <a:t>onderhoud</a:t>
            </a:r>
            <a:endParaRPr lang="en-US" sz="2000" dirty="0"/>
          </a:p>
          <a:p>
            <a:pPr marL="208915" marR="1623695" indent="-228600" defTabSz="914400">
              <a:lnSpc>
                <a:spcPct val="90000"/>
              </a:lnSpc>
              <a:spcBef>
                <a:spcPts val="5"/>
              </a:spcBef>
              <a:buClr>
                <a:srgbClr val="1B3C83"/>
              </a:buClr>
              <a:buFont typeface="Arial" panose="020B0604020202020204" pitchFamily="34" charset="0"/>
              <a:buChar char="•"/>
              <a:tabLst>
                <a:tab pos="235585" algn="l"/>
              </a:tabLst>
            </a:pPr>
            <a:endParaRPr lang="en-US" sz="2000" dirty="0"/>
          </a:p>
          <a:p>
            <a:pPr marL="208915" marR="1623695" indent="-228600" defTabSz="914400">
              <a:lnSpc>
                <a:spcPct val="90000"/>
              </a:lnSpc>
              <a:spcBef>
                <a:spcPts val="5"/>
              </a:spcBef>
              <a:buClr>
                <a:srgbClr val="1B3C83"/>
              </a:buClr>
              <a:buFont typeface="Arial" panose="020B0604020202020204" pitchFamily="34" charset="0"/>
              <a:buChar char="•"/>
              <a:tabLst>
                <a:tab pos="235585" algn="l"/>
              </a:tabLst>
            </a:pPr>
            <a:r>
              <a:rPr lang="en-US" sz="2000" dirty="0" err="1"/>
              <a:t>Gemaakt</a:t>
            </a:r>
            <a:r>
              <a:rPr lang="en-US" sz="2000" dirty="0"/>
              <a:t> met </a:t>
            </a:r>
            <a:r>
              <a:rPr lang="en-US" sz="2000" dirty="0" err="1"/>
              <a:t>en</a:t>
            </a:r>
            <a:r>
              <a:rPr lang="en-US" sz="2000" dirty="0"/>
              <a:t> </a:t>
            </a:r>
            <a:r>
              <a:rPr lang="en-US" sz="2000" dirty="0" err="1"/>
              <a:t>voor</a:t>
            </a:r>
            <a:r>
              <a:rPr lang="en-US" sz="2000" dirty="0"/>
              <a:t> </a:t>
            </a:r>
            <a:r>
              <a:rPr lang="en-US" sz="2000" dirty="0" err="1"/>
              <a:t>monteurs</a:t>
            </a:r>
            <a:endParaRPr lang="en-US" sz="2000" dirty="0"/>
          </a:p>
        </p:txBody>
      </p:sp>
      <p:pic>
        <p:nvPicPr>
          <p:cNvPr id="4" name="object 4"/>
          <p:cNvPicPr/>
          <p:nvPr/>
        </p:nvPicPr>
        <p:blipFill rotWithShape="1">
          <a:blip r:embed="rId3" cstate="print"/>
          <a:srcRect t="14085" r="3" b="6344"/>
          <a:stretch/>
        </p:blipFill>
        <p:spPr>
          <a:xfrm>
            <a:off x="20" y="10"/>
            <a:ext cx="4635571" cy="6857990"/>
          </a:xfrm>
          <a:prstGeom prst="rect">
            <a:avLst/>
          </a:prstGeom>
          <a:effectLst/>
        </p:spPr>
      </p:pic>
      <p:cxnSp>
        <p:nvCxnSpPr>
          <p:cNvPr id="10" name="Straight Connector 9">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4B9AA0"/>
            </a:solidFill>
          </a:ln>
        </p:spPr>
        <p:style>
          <a:lnRef idx="1">
            <a:schemeClr val="accent1"/>
          </a:lnRef>
          <a:fillRef idx="0">
            <a:schemeClr val="accent1"/>
          </a:fillRef>
          <a:effectRef idx="0">
            <a:schemeClr val="accent1"/>
          </a:effectRef>
          <a:fontRef idx="minor">
            <a:schemeClr val="tx1"/>
          </a:fontRef>
        </p:style>
      </p:cxnSp>
      <p:sp>
        <p:nvSpPr>
          <p:cNvPr id="2" name="object 2"/>
          <p:cNvSpPr/>
          <p:nvPr/>
        </p:nvSpPr>
        <p:spPr>
          <a:xfrm>
            <a:off x="265175" y="306323"/>
            <a:ext cx="426720" cy="0"/>
          </a:xfrm>
          <a:custGeom>
            <a:avLst/>
            <a:gdLst/>
            <a:ahLst/>
            <a:cxnLst/>
            <a:rect l="l" t="t" r="r" b="b"/>
            <a:pathLst>
              <a:path w="426720">
                <a:moveTo>
                  <a:pt x="0" y="0"/>
                </a:moveTo>
                <a:lnTo>
                  <a:pt x="426516" y="0"/>
                </a:lnTo>
              </a:path>
            </a:pathLst>
          </a:custGeom>
          <a:ln w="60960">
            <a:solidFill>
              <a:srgbClr val="41B6E4"/>
            </a:solidFill>
          </a:ln>
        </p:spPr>
        <p:txBody>
          <a:bodyPr wrap="square" lIns="0" tIns="0" rIns="0" bIns="0" rtlCol="0"/>
          <a:lstStyle/>
          <a:p>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801098" y="1396288"/>
            <a:ext cx="7611382" cy="3650199"/>
          </a:xfrm>
        </p:spPr>
        <p:txBody>
          <a:bodyPr vert="horz" lIns="91440" tIns="45720" rIns="91440" bIns="45720" rtlCol="0" anchor="ctr">
            <a:normAutofit/>
          </a:bodyPr>
          <a:lstStyle/>
          <a:p>
            <a:pPr algn="l" defTabSz="914400">
              <a:lnSpc>
                <a:spcPct val="90000"/>
              </a:lnSpc>
              <a:spcBef>
                <a:spcPct val="0"/>
              </a:spcBef>
            </a:pPr>
            <a:r>
              <a:rPr lang="en-US" sz="5400" dirty="0" err="1">
                <a:solidFill>
                  <a:schemeClr val="tx1"/>
                </a:solidFill>
              </a:rPr>
              <a:t>Belangrijkste</a:t>
            </a:r>
            <a:br>
              <a:rPr lang="en-US" sz="5400" dirty="0">
                <a:solidFill>
                  <a:schemeClr val="tx1"/>
                </a:solidFill>
              </a:rPr>
            </a:br>
            <a:r>
              <a:rPr lang="en-US" sz="5400" dirty="0" err="1">
                <a:solidFill>
                  <a:schemeClr val="tx1"/>
                </a:solidFill>
              </a:rPr>
              <a:t>Voorwaarde</a:t>
            </a:r>
            <a:br>
              <a:rPr lang="en-US" sz="5400" dirty="0">
                <a:solidFill>
                  <a:schemeClr val="tx1"/>
                </a:solidFill>
              </a:rPr>
            </a:br>
            <a:r>
              <a:rPr lang="en-US" sz="5400" dirty="0">
                <a:solidFill>
                  <a:schemeClr val="tx1"/>
                </a:solidFill>
              </a:rPr>
              <a:t>Eco-</a:t>
            </a:r>
            <a:r>
              <a:rPr lang="en-US" sz="5400" dirty="0" err="1">
                <a:solidFill>
                  <a:schemeClr val="tx1"/>
                </a:solidFill>
              </a:rPr>
              <a:t>Systeem</a:t>
            </a:r>
            <a:br>
              <a:rPr lang="en-US" sz="5400" dirty="0">
                <a:solidFill>
                  <a:schemeClr val="tx1"/>
                </a:solidFill>
              </a:rPr>
            </a:br>
            <a:endParaRPr lang="en-US" sz="5400" dirty="0">
              <a:solidFill>
                <a:schemeClr val="tx1"/>
              </a:solidFill>
            </a:endParaRPr>
          </a:p>
        </p:txBody>
      </p:sp>
      <p:sp>
        <p:nvSpPr>
          <p:cNvPr id="3" name="Rechthoek 2">
            <a:extLst>
              <a:ext uri="{FF2B5EF4-FFF2-40B4-BE49-F238E27FC236}">
                <a16:creationId xmlns:a16="http://schemas.microsoft.com/office/drawing/2014/main" id="{66CA8A36-8AB0-46B2-A0A7-E17BB3811F34}"/>
              </a:ext>
            </a:extLst>
          </p:cNvPr>
          <p:cNvSpPr/>
          <p:nvPr/>
        </p:nvSpPr>
        <p:spPr>
          <a:xfrm>
            <a:off x="805543" y="2871982"/>
            <a:ext cx="4558309" cy="3181684"/>
          </a:xfrm>
          <a:prstGeom prst="rect">
            <a:avLst/>
          </a:prstGeom>
        </p:spPr>
        <p:txBody>
          <a:bodyPr vert="horz" lIns="91440" tIns="45720" rIns="91440" bIns="45720" rtlCol="0" anchor="t">
            <a:normAutofit/>
          </a:bodyPr>
          <a:lstStyle/>
          <a:p>
            <a:pPr defTabSz="914400">
              <a:lnSpc>
                <a:spcPct val="90000"/>
              </a:lnSpc>
              <a:spcAft>
                <a:spcPts val="600"/>
              </a:spcAft>
            </a:pPr>
            <a:endParaRPr lang="en-US" dirty="0">
              <a:latin typeface="Arial" panose="020B0604020202020204" pitchFamily="34" charset="0"/>
              <a:cs typeface="Arial" panose="020B0604020202020204" pitchFamily="34" charset="0"/>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1548408"/>
      </p:ext>
    </p:extLst>
  </p:cSld>
  <p:clrMapOvr>
    <a:overrideClrMapping bg1="dk1" tx1="lt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De succesfactoren voor een innovatie-ecosysteem | Michael Page">
            <a:extLst>
              <a:ext uri="{FF2B5EF4-FFF2-40B4-BE49-F238E27FC236}">
                <a16:creationId xmlns:a16="http://schemas.microsoft.com/office/drawing/2014/main" id="{8701CD63-5291-477E-8465-54362BCEB0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8528" y="1565208"/>
            <a:ext cx="4286212" cy="3457545"/>
          </a:xfrm>
          <a:prstGeom prst="rect">
            <a:avLst/>
          </a:prstGeom>
          <a:noFill/>
          <a:extLst>
            <a:ext uri="{909E8E84-426E-40DD-AFC4-6F175D3DCCD1}">
              <a14:hiddenFill xmlns:a14="http://schemas.microsoft.com/office/drawing/2010/main">
                <a:solidFill>
                  <a:srgbClr val="FFFFFF"/>
                </a:solidFill>
              </a14:hiddenFill>
            </a:ext>
          </a:extLst>
        </p:spPr>
      </p:pic>
      <p:sp>
        <p:nvSpPr>
          <p:cNvPr id="2" name="Tijdelijke aanduiding voor datum 1">
            <a:extLst>
              <a:ext uri="{FF2B5EF4-FFF2-40B4-BE49-F238E27FC236}">
                <a16:creationId xmlns:a16="http://schemas.microsoft.com/office/drawing/2014/main" id="{6487F455-DAB7-440F-8E99-914AEF0DF013}"/>
              </a:ext>
            </a:extLst>
          </p:cNvPr>
          <p:cNvSpPr>
            <a:spLocks noGrp="1"/>
          </p:cNvSpPr>
          <p:nvPr>
            <p:ph type="dt" sz="half" idx="6"/>
          </p:nvPr>
        </p:nvSpPr>
        <p:spPr/>
        <p:txBody>
          <a:bodyPr/>
          <a:lstStyle/>
          <a:p>
            <a:pPr marL="12700">
              <a:lnSpc>
                <a:spcPts val="1430"/>
              </a:lnSpc>
            </a:pPr>
            <a:r>
              <a:rPr lang="nl-NL" spc="-10" dirty="0">
                <a:solidFill>
                  <a:srgbClr val="002F86"/>
                </a:solidFill>
              </a:rPr>
              <a:t>Innovatieklimaat</a:t>
            </a:r>
          </a:p>
        </p:txBody>
      </p:sp>
      <p:sp>
        <p:nvSpPr>
          <p:cNvPr id="3" name="Rechthoek 2">
            <a:extLst>
              <a:ext uri="{FF2B5EF4-FFF2-40B4-BE49-F238E27FC236}">
                <a16:creationId xmlns:a16="http://schemas.microsoft.com/office/drawing/2014/main" id="{92ACCADF-5542-42D5-9698-02F7895EED39}"/>
              </a:ext>
            </a:extLst>
          </p:cNvPr>
          <p:cNvSpPr/>
          <p:nvPr/>
        </p:nvSpPr>
        <p:spPr>
          <a:xfrm>
            <a:off x="261525" y="1454884"/>
            <a:ext cx="7305040" cy="4524315"/>
          </a:xfrm>
          <a:prstGeom prst="rect">
            <a:avLst/>
          </a:prstGeom>
        </p:spPr>
        <p:txBody>
          <a:bodyPr wrap="square">
            <a:spAutoFit/>
          </a:bodyPr>
          <a:lstStyle/>
          <a:p>
            <a:endParaRPr lang="nl-NL" dirty="0">
              <a:solidFill>
                <a:schemeClr val="tx2"/>
              </a:solidFill>
              <a:latin typeface="Arial" panose="020B0604020202020204" pitchFamily="34" charset="0"/>
              <a:cs typeface="Arial" panose="020B0604020202020204" pitchFamily="34" charset="0"/>
            </a:endParaRPr>
          </a:p>
          <a:p>
            <a:endParaRPr lang="nl-NL" dirty="0">
              <a:solidFill>
                <a:schemeClr val="tx2"/>
              </a:solidFill>
              <a:latin typeface="Arial" panose="020B0604020202020204" pitchFamily="34" charset="0"/>
              <a:cs typeface="Arial" panose="020B0604020202020204" pitchFamily="34" charset="0"/>
            </a:endParaRPr>
          </a:p>
          <a:p>
            <a:r>
              <a:rPr lang="en-US" b="1" dirty="0" err="1">
                <a:solidFill>
                  <a:schemeClr val="tx2"/>
                </a:solidFill>
                <a:latin typeface="Arial" panose="020B0604020202020204" pitchFamily="34" charset="0"/>
                <a:cs typeface="Arial" panose="020B0604020202020204" pitchFamily="34" charset="0"/>
              </a:rPr>
              <a:t>Niemand</a:t>
            </a:r>
            <a:r>
              <a:rPr lang="en-US" b="1" dirty="0">
                <a:solidFill>
                  <a:schemeClr val="tx2"/>
                </a:solidFill>
                <a:latin typeface="Arial" panose="020B0604020202020204" pitchFamily="34" charset="0"/>
                <a:cs typeface="Arial" panose="020B0604020202020204" pitchFamily="34" charset="0"/>
              </a:rPr>
              <a:t> </a:t>
            </a:r>
            <a:r>
              <a:rPr lang="en-US" b="1" dirty="0" err="1">
                <a:solidFill>
                  <a:schemeClr val="tx2"/>
                </a:solidFill>
                <a:latin typeface="Arial" panose="020B0604020202020204" pitchFamily="34" charset="0"/>
                <a:cs typeface="Arial" panose="020B0604020202020204" pitchFamily="34" charset="0"/>
              </a:rPr>
              <a:t>wil</a:t>
            </a:r>
            <a:r>
              <a:rPr lang="en-US" b="1" dirty="0">
                <a:solidFill>
                  <a:schemeClr val="tx2"/>
                </a:solidFill>
                <a:latin typeface="Arial" panose="020B0604020202020204" pitchFamily="34" charset="0"/>
                <a:cs typeface="Arial" panose="020B0604020202020204" pitchFamily="34" charset="0"/>
              </a:rPr>
              <a:t> </a:t>
            </a:r>
            <a:r>
              <a:rPr lang="en-US" b="1" dirty="0" err="1">
                <a:solidFill>
                  <a:schemeClr val="tx2"/>
                </a:solidFill>
                <a:latin typeface="Arial" panose="020B0604020202020204" pitchFamily="34" charset="0"/>
                <a:cs typeface="Arial" panose="020B0604020202020204" pitchFamily="34" charset="0"/>
              </a:rPr>
              <a:t>overkomen</a:t>
            </a:r>
            <a:r>
              <a:rPr lang="en-US" b="1" dirty="0">
                <a:solidFill>
                  <a:schemeClr val="tx2"/>
                </a:solidFill>
                <a:latin typeface="Arial" panose="020B0604020202020204" pitchFamily="34" charset="0"/>
                <a:cs typeface="Arial" panose="020B0604020202020204" pitchFamily="34" charset="0"/>
              </a:rPr>
              <a:t> </a:t>
            </a:r>
            <a:r>
              <a:rPr lang="en-US" b="1" dirty="0" err="1">
                <a:solidFill>
                  <a:schemeClr val="tx2"/>
                </a:solidFill>
                <a:latin typeface="Arial" panose="020B0604020202020204" pitchFamily="34" charset="0"/>
                <a:cs typeface="Arial" panose="020B0604020202020204" pitchFamily="34" charset="0"/>
              </a:rPr>
              <a:t>als</a:t>
            </a:r>
            <a:r>
              <a:rPr lang="en-US" b="1" dirty="0">
                <a:solidFill>
                  <a:schemeClr val="tx2"/>
                </a:solidFill>
                <a:latin typeface="Arial" panose="020B0604020202020204" pitchFamily="34" charset="0"/>
                <a:cs typeface="Arial" panose="020B0604020202020204" pitchFamily="34" charset="0"/>
              </a:rPr>
              <a:t>:		</a:t>
            </a:r>
            <a:r>
              <a:rPr lang="en-US" b="1" dirty="0" err="1">
                <a:solidFill>
                  <a:schemeClr val="tx2"/>
                </a:solidFill>
                <a:latin typeface="Arial" panose="020B0604020202020204" pitchFamily="34" charset="0"/>
                <a:cs typeface="Arial" panose="020B0604020202020204" pitchFamily="34" charset="0"/>
              </a:rPr>
              <a:t>Logische</a:t>
            </a:r>
            <a:r>
              <a:rPr lang="en-US" b="1" dirty="0">
                <a:solidFill>
                  <a:schemeClr val="tx2"/>
                </a:solidFill>
                <a:latin typeface="Arial" panose="020B0604020202020204" pitchFamily="34" charset="0"/>
                <a:cs typeface="Arial" panose="020B0604020202020204" pitchFamily="34" charset="0"/>
              </a:rPr>
              <a:t> </a:t>
            </a:r>
            <a:r>
              <a:rPr lang="en-US" b="1" dirty="0" err="1">
                <a:solidFill>
                  <a:schemeClr val="tx2"/>
                </a:solidFill>
                <a:latin typeface="Arial" panose="020B0604020202020204" pitchFamily="34" charset="0"/>
                <a:cs typeface="Arial" panose="020B0604020202020204" pitchFamily="34" charset="0"/>
              </a:rPr>
              <a:t>oplossing</a:t>
            </a:r>
            <a:r>
              <a:rPr lang="en-US" b="1" dirty="0">
                <a:solidFill>
                  <a:schemeClr val="tx2"/>
                </a:solidFill>
                <a:latin typeface="Arial" panose="020B0604020202020204" pitchFamily="34" charset="0"/>
                <a:cs typeface="Arial" panose="020B0604020202020204" pitchFamily="34" charset="0"/>
              </a:rPr>
              <a:t>:</a:t>
            </a:r>
          </a:p>
          <a:p>
            <a:r>
              <a:rPr lang="nl-NL" dirty="0">
                <a:solidFill>
                  <a:schemeClr val="tx2"/>
                </a:solidFill>
                <a:latin typeface="Arial" panose="020B0604020202020204" pitchFamily="34" charset="0"/>
                <a:cs typeface="Arial" panose="020B0604020202020204" pitchFamily="34" charset="0"/>
              </a:rPr>
              <a:t>Onnozel 				Geen vragen stellen</a:t>
            </a:r>
          </a:p>
          <a:p>
            <a:r>
              <a:rPr lang="en-US" dirty="0">
                <a:solidFill>
                  <a:schemeClr val="tx2"/>
                </a:solidFill>
                <a:latin typeface="Arial" panose="020B0604020202020204" pitchFamily="34" charset="0"/>
                <a:cs typeface="Arial" panose="020B0604020202020204" pitchFamily="34" charset="0"/>
              </a:rPr>
              <a:t>Incompetent 				</a:t>
            </a:r>
            <a:r>
              <a:rPr lang="en-US" dirty="0" err="1">
                <a:solidFill>
                  <a:schemeClr val="tx2"/>
                </a:solidFill>
                <a:latin typeface="Arial" panose="020B0604020202020204" pitchFamily="34" charset="0"/>
                <a:cs typeface="Arial" panose="020B0604020202020204" pitchFamily="34" charset="0"/>
              </a:rPr>
              <a:t>Fouten</a:t>
            </a:r>
            <a:r>
              <a:rPr lang="en-US" dirty="0">
                <a:solidFill>
                  <a:schemeClr val="tx2"/>
                </a:solidFill>
                <a:latin typeface="Arial" panose="020B0604020202020204" pitchFamily="34" charset="0"/>
                <a:cs typeface="Arial" panose="020B0604020202020204" pitchFamily="34" charset="0"/>
              </a:rPr>
              <a:t> </a:t>
            </a:r>
            <a:r>
              <a:rPr lang="en-US" dirty="0" err="1">
                <a:solidFill>
                  <a:schemeClr val="tx2"/>
                </a:solidFill>
                <a:latin typeface="Arial" panose="020B0604020202020204" pitchFamily="34" charset="0"/>
                <a:cs typeface="Arial" panose="020B0604020202020204" pitchFamily="34" charset="0"/>
              </a:rPr>
              <a:t>niet</a:t>
            </a:r>
            <a:r>
              <a:rPr lang="en-US" dirty="0">
                <a:solidFill>
                  <a:schemeClr val="tx2"/>
                </a:solidFill>
                <a:latin typeface="Arial" panose="020B0604020202020204" pitchFamily="34" charset="0"/>
                <a:cs typeface="Arial" panose="020B0604020202020204" pitchFamily="34" charset="0"/>
              </a:rPr>
              <a:t> </a:t>
            </a:r>
            <a:r>
              <a:rPr lang="en-US" dirty="0" err="1">
                <a:solidFill>
                  <a:schemeClr val="tx2"/>
                </a:solidFill>
                <a:latin typeface="Arial" panose="020B0604020202020204" pitchFamily="34" charset="0"/>
                <a:cs typeface="Arial" panose="020B0604020202020204" pitchFamily="34" charset="0"/>
              </a:rPr>
              <a:t>toegeven</a:t>
            </a:r>
            <a:endParaRPr lang="en-US" dirty="0">
              <a:solidFill>
                <a:schemeClr val="tx2"/>
              </a:solidFill>
              <a:latin typeface="Arial" panose="020B0604020202020204" pitchFamily="34" charset="0"/>
              <a:cs typeface="Arial" panose="020B0604020202020204" pitchFamily="34" charset="0"/>
            </a:endParaRPr>
          </a:p>
          <a:p>
            <a:r>
              <a:rPr lang="nl-NL" dirty="0">
                <a:solidFill>
                  <a:schemeClr val="tx2"/>
                </a:solidFill>
                <a:latin typeface="Arial" panose="020B0604020202020204" pitchFamily="34" charset="0"/>
                <a:cs typeface="Arial" panose="020B0604020202020204" pitchFamily="34" charset="0"/>
              </a:rPr>
              <a:t>Opdringerig 				Geen ideeën opperen</a:t>
            </a:r>
          </a:p>
          <a:p>
            <a:r>
              <a:rPr lang="nl-NL" dirty="0">
                <a:solidFill>
                  <a:schemeClr val="tx2"/>
                </a:solidFill>
                <a:latin typeface="Arial" panose="020B0604020202020204" pitchFamily="34" charset="0"/>
                <a:cs typeface="Arial" panose="020B0604020202020204" pitchFamily="34" charset="0"/>
              </a:rPr>
              <a:t>Negatief 				Niet kritisch zijn </a:t>
            </a:r>
          </a:p>
          <a:p>
            <a:endParaRPr lang="nl-NL" dirty="0">
              <a:solidFill>
                <a:schemeClr val="tx2"/>
              </a:solidFill>
              <a:latin typeface="Arial" panose="020B0604020202020204" pitchFamily="34" charset="0"/>
              <a:cs typeface="Arial" panose="020B0604020202020204" pitchFamily="34" charset="0"/>
            </a:endParaRPr>
          </a:p>
          <a:p>
            <a:endParaRPr lang="nl-NL" dirty="0">
              <a:solidFill>
                <a:schemeClr val="tx2"/>
              </a:solidFill>
              <a:latin typeface="Arial" panose="020B0604020202020204" pitchFamily="34" charset="0"/>
              <a:cs typeface="Arial" panose="020B0604020202020204" pitchFamily="34" charset="0"/>
            </a:endParaRPr>
          </a:p>
          <a:p>
            <a:endParaRPr lang="nl-NL" dirty="0">
              <a:solidFill>
                <a:schemeClr val="tx2"/>
              </a:solidFill>
              <a:latin typeface="Arial" panose="020B0604020202020204" pitchFamily="34" charset="0"/>
              <a:cs typeface="Arial" panose="020B0604020202020204" pitchFamily="34" charset="0"/>
            </a:endParaRPr>
          </a:p>
          <a:p>
            <a:r>
              <a:rPr lang="nl-NL" b="1" dirty="0">
                <a:solidFill>
                  <a:schemeClr val="tx2"/>
                </a:solidFill>
                <a:latin typeface="Arial" panose="020B0604020202020204" pitchFamily="34" charset="0"/>
                <a:cs typeface="Arial" panose="020B0604020202020204" pitchFamily="34" charset="0"/>
              </a:rPr>
              <a:t>Investeer in Psychologische Veiligheid</a:t>
            </a:r>
          </a:p>
          <a:p>
            <a:r>
              <a:rPr lang="nl-NL" dirty="0">
                <a:solidFill>
                  <a:schemeClr val="tx2"/>
                </a:solidFill>
                <a:latin typeface="Arial" panose="020B0604020202020204" pitchFamily="34" charset="0"/>
                <a:cs typeface="Arial" panose="020B0604020202020204" pitchFamily="34" charset="0"/>
              </a:rPr>
              <a:t>Psychologische veiligheid is de overtuiging dat iemand </a:t>
            </a:r>
          </a:p>
          <a:p>
            <a:r>
              <a:rPr lang="nl-NL" dirty="0">
                <a:solidFill>
                  <a:schemeClr val="tx2"/>
                </a:solidFill>
                <a:latin typeface="Arial" panose="020B0604020202020204" pitchFamily="34" charset="0"/>
                <a:cs typeface="Arial" panose="020B0604020202020204" pitchFamily="34" charset="0"/>
              </a:rPr>
              <a:t>niet gestraft of vernederd zal worden als hij of zij zijn of </a:t>
            </a:r>
          </a:p>
          <a:p>
            <a:r>
              <a:rPr lang="nl-NL" dirty="0">
                <a:solidFill>
                  <a:schemeClr val="tx2"/>
                </a:solidFill>
                <a:latin typeface="Arial" panose="020B0604020202020204" pitchFamily="34" charset="0"/>
                <a:cs typeface="Arial" panose="020B0604020202020204" pitchFamily="34" charset="0"/>
              </a:rPr>
              <a:t>haar ideeën, vragen, zorgen of fouten kenbaar maakt.</a:t>
            </a:r>
          </a:p>
          <a:p>
            <a:endParaRPr lang="nl-NL" b="1" dirty="0">
              <a:solidFill>
                <a:schemeClr val="tx2"/>
              </a:solidFill>
              <a:latin typeface="Arial" panose="020B0604020202020204" pitchFamily="34" charset="0"/>
              <a:cs typeface="Arial" panose="020B0604020202020204" pitchFamily="34" charset="0"/>
            </a:endParaRPr>
          </a:p>
          <a:p>
            <a:endParaRPr lang="nl-NL" dirty="0">
              <a:solidFill>
                <a:schemeClr val="tx2"/>
              </a:solidFill>
              <a:latin typeface="Arial" panose="020B0604020202020204" pitchFamily="34" charset="0"/>
              <a:cs typeface="Arial" panose="020B0604020202020204" pitchFamily="34" charset="0"/>
            </a:endParaRPr>
          </a:p>
        </p:txBody>
      </p:sp>
      <p:sp>
        <p:nvSpPr>
          <p:cNvPr id="6" name="Titel 1">
            <a:extLst>
              <a:ext uri="{FF2B5EF4-FFF2-40B4-BE49-F238E27FC236}">
                <a16:creationId xmlns:a16="http://schemas.microsoft.com/office/drawing/2014/main" id="{E190D924-24B0-4BB9-B027-D86783C1C11A}"/>
              </a:ext>
            </a:extLst>
          </p:cNvPr>
          <p:cNvSpPr txBox="1">
            <a:spLocks/>
          </p:cNvSpPr>
          <p:nvPr/>
        </p:nvSpPr>
        <p:spPr>
          <a:xfrm>
            <a:off x="413925" y="152400"/>
            <a:ext cx="10802715" cy="1782010"/>
          </a:xfrm>
          <a:prstGeom prst="rect">
            <a:avLst/>
          </a:prstGeom>
        </p:spPr>
        <p:txBody>
          <a:bodyPr vert="horz" lIns="91440" tIns="45720" rIns="91440" bIns="45720" rtlCol="0" anchor="ctr">
            <a:normAutofit/>
          </a:bodyPr>
          <a:lstStyle>
            <a:lvl1pPr algn="l" defTabSz="685800" rtl="0" eaLnBrk="1" latinLnBrk="0" hangingPunct="1">
              <a:lnSpc>
                <a:spcPts val="33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a:lstStyle>
          <a:p>
            <a:pPr defTabSz="914400">
              <a:lnSpc>
                <a:spcPct val="90000"/>
              </a:lnSpc>
            </a:pPr>
            <a:r>
              <a:rPr lang="en-US" sz="3200" dirty="0"/>
              <a:t>Eco-</a:t>
            </a:r>
            <a:r>
              <a:rPr lang="en-US" sz="3200" dirty="0" err="1"/>
              <a:t>Systeem</a:t>
            </a:r>
            <a:r>
              <a:rPr lang="en-US" sz="3200" dirty="0"/>
              <a:t> </a:t>
            </a:r>
            <a:r>
              <a:rPr lang="en-US" sz="3200" dirty="0" err="1"/>
              <a:t>Voorwaarde</a:t>
            </a:r>
            <a:endParaRPr lang="en-US" sz="3200" b="0" dirty="0"/>
          </a:p>
        </p:txBody>
      </p:sp>
    </p:spTree>
    <p:extLst>
      <p:ext uri="{BB962C8B-B14F-4D97-AF65-F5344CB8AC3E}">
        <p14:creationId xmlns:p14="http://schemas.microsoft.com/office/powerpoint/2010/main" val="154132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De succesfactoren voor een innovatie-ecosysteem | Michael Page">
            <a:extLst>
              <a:ext uri="{FF2B5EF4-FFF2-40B4-BE49-F238E27FC236}">
                <a16:creationId xmlns:a16="http://schemas.microsoft.com/office/drawing/2014/main" id="{8701CD63-5291-477E-8465-54362BCEB0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6059" y="1454884"/>
            <a:ext cx="4894501" cy="3948231"/>
          </a:xfrm>
          <a:prstGeom prst="rect">
            <a:avLst/>
          </a:prstGeom>
          <a:noFill/>
          <a:extLst>
            <a:ext uri="{909E8E84-426E-40DD-AFC4-6F175D3DCCD1}">
              <a14:hiddenFill xmlns:a14="http://schemas.microsoft.com/office/drawing/2010/main">
                <a:solidFill>
                  <a:srgbClr val="FFFFFF"/>
                </a:solidFill>
              </a14:hiddenFill>
            </a:ext>
          </a:extLst>
        </p:spPr>
      </p:pic>
      <p:sp>
        <p:nvSpPr>
          <p:cNvPr id="2" name="Tijdelijke aanduiding voor datum 1">
            <a:extLst>
              <a:ext uri="{FF2B5EF4-FFF2-40B4-BE49-F238E27FC236}">
                <a16:creationId xmlns:a16="http://schemas.microsoft.com/office/drawing/2014/main" id="{6487F455-DAB7-440F-8E99-914AEF0DF013}"/>
              </a:ext>
            </a:extLst>
          </p:cNvPr>
          <p:cNvSpPr>
            <a:spLocks noGrp="1"/>
          </p:cNvSpPr>
          <p:nvPr>
            <p:ph type="dt" sz="half" idx="6"/>
          </p:nvPr>
        </p:nvSpPr>
        <p:spPr/>
        <p:txBody>
          <a:bodyPr/>
          <a:lstStyle/>
          <a:p>
            <a:pPr marL="12700">
              <a:lnSpc>
                <a:spcPts val="1430"/>
              </a:lnSpc>
            </a:pPr>
            <a:r>
              <a:rPr lang="nl-NL" spc="-10" dirty="0">
                <a:solidFill>
                  <a:srgbClr val="002F86"/>
                </a:solidFill>
              </a:rPr>
              <a:t>Innovatieklimaat</a:t>
            </a:r>
          </a:p>
        </p:txBody>
      </p:sp>
      <p:sp>
        <p:nvSpPr>
          <p:cNvPr id="3" name="Rechthoek 2">
            <a:extLst>
              <a:ext uri="{FF2B5EF4-FFF2-40B4-BE49-F238E27FC236}">
                <a16:creationId xmlns:a16="http://schemas.microsoft.com/office/drawing/2014/main" id="{92ACCADF-5542-42D5-9698-02F7895EED39}"/>
              </a:ext>
            </a:extLst>
          </p:cNvPr>
          <p:cNvSpPr/>
          <p:nvPr/>
        </p:nvSpPr>
        <p:spPr>
          <a:xfrm>
            <a:off x="261525" y="1422291"/>
            <a:ext cx="7305040" cy="1200329"/>
          </a:xfrm>
          <a:prstGeom prst="rect">
            <a:avLst/>
          </a:prstGeom>
        </p:spPr>
        <p:txBody>
          <a:bodyPr wrap="square">
            <a:spAutoFit/>
          </a:bodyPr>
          <a:lstStyle/>
          <a:p>
            <a:endParaRPr lang="nl-NL" dirty="0">
              <a:solidFill>
                <a:schemeClr val="tx2"/>
              </a:solidFill>
              <a:latin typeface="Arial" panose="020B0604020202020204" pitchFamily="34" charset="0"/>
              <a:cs typeface="Arial" panose="020B0604020202020204" pitchFamily="34" charset="0"/>
            </a:endParaRPr>
          </a:p>
          <a:p>
            <a:endParaRPr lang="nl-NL" dirty="0">
              <a:solidFill>
                <a:schemeClr val="tx2"/>
              </a:solidFill>
              <a:latin typeface="Arial" panose="020B0604020202020204" pitchFamily="34" charset="0"/>
              <a:cs typeface="Arial" panose="020B0604020202020204" pitchFamily="34" charset="0"/>
            </a:endParaRPr>
          </a:p>
          <a:p>
            <a:endParaRPr lang="nl-NL" b="1" dirty="0">
              <a:solidFill>
                <a:schemeClr val="tx2"/>
              </a:solidFill>
              <a:latin typeface="Arial" panose="020B0604020202020204" pitchFamily="34" charset="0"/>
              <a:cs typeface="Arial" panose="020B0604020202020204" pitchFamily="34" charset="0"/>
            </a:endParaRPr>
          </a:p>
          <a:p>
            <a:endParaRPr lang="nl-NL" dirty="0">
              <a:solidFill>
                <a:schemeClr val="tx2"/>
              </a:solidFill>
              <a:latin typeface="Arial" panose="020B0604020202020204" pitchFamily="34" charset="0"/>
              <a:cs typeface="Arial" panose="020B0604020202020204" pitchFamily="34" charset="0"/>
            </a:endParaRPr>
          </a:p>
        </p:txBody>
      </p:sp>
      <p:sp>
        <p:nvSpPr>
          <p:cNvPr id="4" name="Titel 1">
            <a:extLst>
              <a:ext uri="{FF2B5EF4-FFF2-40B4-BE49-F238E27FC236}">
                <a16:creationId xmlns:a16="http://schemas.microsoft.com/office/drawing/2014/main" id="{56D2E601-2A4B-4D34-8469-B006CBF5DB90}"/>
              </a:ext>
            </a:extLst>
          </p:cNvPr>
          <p:cNvSpPr txBox="1">
            <a:spLocks/>
          </p:cNvSpPr>
          <p:nvPr/>
        </p:nvSpPr>
        <p:spPr>
          <a:xfrm>
            <a:off x="261525" y="0"/>
            <a:ext cx="10802715" cy="1782010"/>
          </a:xfrm>
          <a:prstGeom prst="rect">
            <a:avLst/>
          </a:prstGeom>
        </p:spPr>
        <p:txBody>
          <a:bodyPr vert="horz" lIns="91440" tIns="45720" rIns="91440" bIns="45720" rtlCol="0" anchor="ctr">
            <a:normAutofit/>
          </a:bodyPr>
          <a:lstStyle>
            <a:lvl1pPr algn="l" defTabSz="685800" rtl="0" eaLnBrk="1" latinLnBrk="0" hangingPunct="1">
              <a:lnSpc>
                <a:spcPts val="33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a:lstStyle>
          <a:p>
            <a:pPr defTabSz="914400">
              <a:lnSpc>
                <a:spcPct val="90000"/>
              </a:lnSpc>
            </a:pPr>
            <a:r>
              <a:rPr lang="en-US" sz="3200" dirty="0"/>
              <a:t>Eco-</a:t>
            </a:r>
            <a:r>
              <a:rPr lang="en-US" sz="3200" dirty="0" err="1"/>
              <a:t>Systeem</a:t>
            </a:r>
            <a:r>
              <a:rPr lang="en-US" sz="3200" dirty="0"/>
              <a:t> </a:t>
            </a:r>
            <a:r>
              <a:rPr lang="en-US" sz="3200" dirty="0" err="1"/>
              <a:t>Voorwaarde</a:t>
            </a:r>
            <a:endParaRPr lang="en-US" sz="3200" b="0" dirty="0"/>
          </a:p>
        </p:txBody>
      </p:sp>
      <p:sp>
        <p:nvSpPr>
          <p:cNvPr id="6" name="Rechthoek 5">
            <a:extLst>
              <a:ext uri="{FF2B5EF4-FFF2-40B4-BE49-F238E27FC236}">
                <a16:creationId xmlns:a16="http://schemas.microsoft.com/office/drawing/2014/main" id="{3A458105-B32F-4108-9FE6-80BAF050AA4C}"/>
              </a:ext>
            </a:extLst>
          </p:cNvPr>
          <p:cNvSpPr/>
          <p:nvPr/>
        </p:nvSpPr>
        <p:spPr>
          <a:xfrm>
            <a:off x="383532" y="2136337"/>
            <a:ext cx="6700520" cy="3139321"/>
          </a:xfrm>
          <a:prstGeom prst="rect">
            <a:avLst/>
          </a:prstGeom>
        </p:spPr>
        <p:txBody>
          <a:bodyPr wrap="square">
            <a:spAutoFit/>
          </a:bodyPr>
          <a:lstStyle/>
          <a:p>
            <a:r>
              <a:rPr lang="nl-NL" b="1" dirty="0">
                <a:solidFill>
                  <a:schemeClr val="tx2"/>
                </a:solidFill>
                <a:latin typeface="Arial" panose="020B0604020202020204" pitchFamily="34" charset="0"/>
                <a:cs typeface="Arial" panose="020B0604020202020204" pitchFamily="34" charset="0"/>
              </a:rPr>
              <a:t>Psychologische veiligheid beïnvloeden door:</a:t>
            </a:r>
          </a:p>
          <a:p>
            <a:endParaRPr lang="nl-NL" b="1"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solidFill>
                  <a:schemeClr val="tx2"/>
                </a:solidFill>
                <a:latin typeface="Arial" panose="020B0604020202020204" pitchFamily="34" charset="0"/>
                <a:cs typeface="Arial" panose="020B0604020202020204" pitchFamily="34" charset="0"/>
              </a:rPr>
              <a:t>Open gesprek faciliteren</a:t>
            </a:r>
          </a:p>
          <a:p>
            <a:pPr marL="285750" indent="-285750">
              <a:buFont typeface="Arial" panose="020B0604020202020204" pitchFamily="34" charset="0"/>
              <a:buChar char="•"/>
            </a:pPr>
            <a:endParaRPr lang="nl-NL"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solidFill>
                  <a:schemeClr val="tx2"/>
                </a:solidFill>
                <a:latin typeface="Arial" panose="020B0604020202020204" pitchFamily="34" charset="0"/>
                <a:cs typeface="Arial" panose="020B0604020202020204" pitchFamily="34" charset="0"/>
              </a:rPr>
              <a:t>Betrokkenheid vergroten</a:t>
            </a:r>
          </a:p>
          <a:p>
            <a:pPr marL="285750" indent="-285750">
              <a:buFont typeface="Arial" panose="020B0604020202020204" pitchFamily="34" charset="0"/>
              <a:buChar char="•"/>
            </a:pPr>
            <a:endParaRPr lang="nl-NL"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solidFill>
                  <a:schemeClr val="tx2"/>
                </a:solidFill>
                <a:latin typeface="Arial" panose="020B0604020202020204" pitchFamily="34" charset="0"/>
                <a:cs typeface="Arial" panose="020B0604020202020204" pitchFamily="34" charset="0"/>
              </a:rPr>
              <a:t>Open houding tegenover risico en proberen</a:t>
            </a:r>
          </a:p>
          <a:p>
            <a:endParaRPr lang="nl-NL"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solidFill>
                  <a:schemeClr val="tx2"/>
                </a:solidFill>
                <a:latin typeface="Arial" panose="020B0604020202020204" pitchFamily="34" charset="0"/>
                <a:cs typeface="Arial" panose="020B0604020202020204" pitchFamily="34" charset="0"/>
              </a:rPr>
              <a:t>Positieve houding tegenover mislukkingen en falen</a:t>
            </a:r>
          </a:p>
          <a:p>
            <a:pPr marL="285750" indent="-285750">
              <a:buFont typeface="Arial" panose="020B0604020202020204" pitchFamily="34" charset="0"/>
              <a:buChar char="•"/>
            </a:pPr>
            <a:endParaRPr lang="nl-NL"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dirty="0">
                <a:solidFill>
                  <a:schemeClr val="tx2"/>
                </a:solidFill>
                <a:latin typeface="Arial" panose="020B0604020202020204" pitchFamily="34" charset="0"/>
                <a:cs typeface="Arial" panose="020B0604020202020204" pitchFamily="34" charset="0"/>
              </a:rPr>
              <a:t>Bereidheid om te helpen en onderlinge waardering vergroten</a:t>
            </a:r>
          </a:p>
        </p:txBody>
      </p:sp>
    </p:spTree>
    <p:extLst>
      <p:ext uri="{BB962C8B-B14F-4D97-AF65-F5344CB8AC3E}">
        <p14:creationId xmlns:p14="http://schemas.microsoft.com/office/powerpoint/2010/main" val="2616464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0564A9-D5F2-4A19-AB51-6D49D1638719}"/>
              </a:ext>
            </a:extLst>
          </p:cNvPr>
          <p:cNvSpPr>
            <a:spLocks noGrp="1"/>
          </p:cNvSpPr>
          <p:nvPr>
            <p:ph type="title"/>
          </p:nvPr>
        </p:nvSpPr>
        <p:spPr/>
        <p:txBody>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nl-NL" dirty="0"/>
          </a:p>
        </p:txBody>
      </p:sp>
      <p:pic>
        <p:nvPicPr>
          <p:cNvPr id="3" name="Afbeelding 2">
            <a:extLst>
              <a:ext uri="{FF2B5EF4-FFF2-40B4-BE49-F238E27FC236}">
                <a16:creationId xmlns:a16="http://schemas.microsoft.com/office/drawing/2014/main" id="{8BD83E75-2B5D-4666-99D4-6EC396AB2937}"/>
              </a:ext>
            </a:extLst>
          </p:cNvPr>
          <p:cNvPicPr>
            <a:picLocks noChangeAspect="1"/>
          </p:cNvPicPr>
          <p:nvPr/>
        </p:nvPicPr>
        <p:blipFill rotWithShape="1">
          <a:blip r:embed="rId2"/>
          <a:srcRect l="54485" t="13529" r="4927" b="7778"/>
          <a:stretch/>
        </p:blipFill>
        <p:spPr>
          <a:xfrm>
            <a:off x="0" y="-71120"/>
            <a:ext cx="12576799" cy="6858000"/>
          </a:xfrm>
          <a:prstGeom prst="rect">
            <a:avLst/>
          </a:prstGeom>
        </p:spPr>
      </p:pic>
      <p:sp>
        <p:nvSpPr>
          <p:cNvPr id="4" name="Tekstvak 3">
            <a:extLst>
              <a:ext uri="{FF2B5EF4-FFF2-40B4-BE49-F238E27FC236}">
                <a16:creationId xmlns:a16="http://schemas.microsoft.com/office/drawing/2014/main" id="{86F31461-69C2-4693-9C7D-4ECBC1ABBC6D}"/>
              </a:ext>
            </a:extLst>
          </p:cNvPr>
          <p:cNvSpPr txBox="1"/>
          <p:nvPr/>
        </p:nvSpPr>
        <p:spPr>
          <a:xfrm>
            <a:off x="7937499" y="4415137"/>
            <a:ext cx="7340599" cy="923330"/>
          </a:xfrm>
          <a:prstGeom prst="rect">
            <a:avLst/>
          </a:prstGeom>
          <a:noFill/>
        </p:spPr>
        <p:txBody>
          <a:bodyPr wrap="square" rtlCol="0">
            <a:spAutoFit/>
          </a:bodyPr>
          <a:lstStyle/>
          <a:p>
            <a:r>
              <a:rPr lang="nl-NL" dirty="0">
                <a:solidFill>
                  <a:schemeClr val="bg1"/>
                </a:solidFill>
                <a:latin typeface="Calibri" panose="020F0502020204030204" pitchFamily="34" charset="0"/>
                <a:cs typeface="Calibri" panose="020F0502020204030204" pitchFamily="34" charset="0"/>
              </a:rPr>
              <a:t>Samen op pad? </a:t>
            </a:r>
          </a:p>
          <a:p>
            <a:r>
              <a:rPr lang="nl-NL" dirty="0">
                <a:solidFill>
                  <a:schemeClr val="bg1"/>
                </a:solidFill>
                <a:latin typeface="Calibri" panose="020F0502020204030204" pitchFamily="34" charset="0"/>
                <a:cs typeface="Calibri" panose="020F0502020204030204" pitchFamily="34" charset="0"/>
              </a:rPr>
              <a:t>Stuur een mail: </a:t>
            </a:r>
            <a:r>
              <a:rPr lang="nl-NL" dirty="0">
                <a:solidFill>
                  <a:schemeClr val="bg1"/>
                </a:solidFill>
                <a:latin typeface="Calibri" panose="020F0502020204030204" pitchFamily="34" charset="0"/>
                <a:cs typeface="Calibri" panose="020F0502020204030204" pitchFamily="34" charset="0"/>
                <a:hlinkClick r:id="rId3"/>
              </a:rPr>
              <a:t>Jorien.loots@pipelife.com</a:t>
            </a:r>
            <a:endParaRPr lang="nl-NL" dirty="0">
              <a:solidFill>
                <a:schemeClr val="bg1"/>
              </a:solidFill>
              <a:latin typeface="Calibri" panose="020F0502020204030204" pitchFamily="34" charset="0"/>
              <a:cs typeface="Calibri" panose="020F0502020204030204" pitchFamily="34" charset="0"/>
            </a:endParaRPr>
          </a:p>
          <a:p>
            <a:endParaRPr lang="nl-NL" dirty="0">
              <a:solidFill>
                <a:schemeClr val="bg1"/>
              </a:solidFill>
              <a:latin typeface="Calibri" panose="020F0502020204030204" pitchFamily="34" charset="0"/>
              <a:cs typeface="Calibri" panose="020F0502020204030204" pitchFamily="34" charset="0"/>
            </a:endParaRPr>
          </a:p>
        </p:txBody>
      </p:sp>
      <p:sp>
        <p:nvSpPr>
          <p:cNvPr id="5" name="Tekstvak 4">
            <a:extLst>
              <a:ext uri="{FF2B5EF4-FFF2-40B4-BE49-F238E27FC236}">
                <a16:creationId xmlns:a16="http://schemas.microsoft.com/office/drawing/2014/main" id="{96350532-4D56-458B-8A60-B59899F188C2}"/>
              </a:ext>
            </a:extLst>
          </p:cNvPr>
          <p:cNvSpPr txBox="1"/>
          <p:nvPr/>
        </p:nvSpPr>
        <p:spPr>
          <a:xfrm>
            <a:off x="1894200" y="1876764"/>
            <a:ext cx="8788400" cy="2646878"/>
          </a:xfrm>
          <a:prstGeom prst="rect">
            <a:avLst/>
          </a:prstGeom>
          <a:noFill/>
        </p:spPr>
        <p:txBody>
          <a:bodyPr wrap="square" rtlCol="0">
            <a:spAutoFit/>
          </a:bodyPr>
          <a:lstStyle/>
          <a:p>
            <a:r>
              <a:rPr lang="nl-NL" sz="16600" b="1" dirty="0">
                <a:solidFill>
                  <a:schemeClr val="bg1"/>
                </a:solidFill>
                <a:latin typeface="Arial" panose="020B0604020202020204" pitchFamily="34" charset="0"/>
                <a:cs typeface="Arial" panose="020B0604020202020204" pitchFamily="34" charset="0"/>
              </a:rPr>
              <a:t>Vragen?</a:t>
            </a:r>
          </a:p>
        </p:txBody>
      </p:sp>
    </p:spTree>
    <p:extLst>
      <p:ext uri="{BB962C8B-B14F-4D97-AF65-F5344CB8AC3E}">
        <p14:creationId xmlns:p14="http://schemas.microsoft.com/office/powerpoint/2010/main" val="615987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F04D6BB-1832-4697-9955-06B872A04C54}"/>
              </a:ext>
            </a:extLst>
          </p:cNvPr>
          <p:cNvSpPr>
            <a:spLocks noGrp="1"/>
          </p:cNvSpPr>
          <p:nvPr>
            <p:ph type="dt" sz="half" idx="6"/>
          </p:nvPr>
        </p:nvSpPr>
        <p:spPr/>
        <p:txBody>
          <a:bodyPr/>
          <a:lstStyle/>
          <a:p>
            <a:pPr marL="12700">
              <a:lnSpc>
                <a:spcPts val="1430"/>
              </a:lnSpc>
            </a:pPr>
            <a:r>
              <a:rPr lang="nl-NL" spc="-10" dirty="0">
                <a:solidFill>
                  <a:srgbClr val="002F86"/>
                </a:solidFill>
                <a:latin typeface="Arial" panose="020B0604020202020204" pitchFamily="34" charset="0"/>
                <a:cs typeface="Arial" panose="020B0604020202020204" pitchFamily="34" charset="0"/>
              </a:rPr>
              <a:t>Introductie</a:t>
            </a:r>
          </a:p>
        </p:txBody>
      </p:sp>
      <p:sp>
        <p:nvSpPr>
          <p:cNvPr id="3" name="Content Placeholder 2">
            <a:extLst>
              <a:ext uri="{FF2B5EF4-FFF2-40B4-BE49-F238E27FC236}">
                <a16:creationId xmlns:a16="http://schemas.microsoft.com/office/drawing/2014/main" id="{FCD639F9-04E6-450D-B45F-FF49896F9233}"/>
              </a:ext>
            </a:extLst>
          </p:cNvPr>
          <p:cNvSpPr txBox="1">
            <a:spLocks/>
          </p:cNvSpPr>
          <p:nvPr/>
        </p:nvSpPr>
        <p:spPr>
          <a:xfrm>
            <a:off x="700088" y="1143000"/>
            <a:ext cx="11491912" cy="5105400"/>
          </a:xfrm>
          <a:prstGeom prst="rect">
            <a:avLst/>
          </a:prstGeom>
        </p:spPr>
        <p:txBody>
          <a:bodyPr/>
          <a:lstStyle>
            <a:defPPr>
              <a:defRPr lang="en-US"/>
            </a:defPPr>
            <a:lvl1pPr marL="0" indent="-171450" algn="l" defTabSz="967618" rtl="0" eaLnBrk="1" latinLnBrk="0" hangingPunct="1">
              <a:lnSpc>
                <a:spcPct val="90000"/>
              </a:lnSpc>
              <a:spcBef>
                <a:spcPts val="750"/>
              </a:spcBef>
              <a:buFont typeface="Arial" panose="020B0604020202020204" pitchFamily="34" charset="0"/>
              <a:buChar char="•"/>
              <a:defRPr sz="1905" kern="1200">
                <a:solidFill>
                  <a:schemeClr val="tx1"/>
                </a:solidFill>
                <a:latin typeface="+mn-lt"/>
                <a:ea typeface="+mn-ea"/>
                <a:cs typeface="+mn-cs"/>
              </a:defRPr>
            </a:lvl1pPr>
            <a:lvl2pPr marL="483809"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2pPr>
            <a:lvl3pPr marL="967618"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3pPr>
            <a:lvl4pPr marL="1451427"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4pPr>
            <a:lvl5pPr marL="1935236"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5pPr>
            <a:lvl6pPr marL="2419045"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6pPr>
            <a:lvl7pPr marL="2902854"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7pPr>
            <a:lvl8pPr marL="3386663"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8pPr>
            <a:lvl9pPr marL="3870472" indent="-171450" algn="l" defTabSz="967618" rtl="0" eaLnBrk="1" latinLnBrk="0" hangingPunct="1">
              <a:lnSpc>
                <a:spcPct val="90000"/>
              </a:lnSpc>
              <a:spcBef>
                <a:spcPts val="375"/>
              </a:spcBef>
              <a:buFont typeface="Arial" panose="020B0604020202020204" pitchFamily="34" charset="0"/>
              <a:buChar char="•"/>
              <a:defRPr sz="1905" kern="1200">
                <a:solidFill>
                  <a:schemeClr val="tx1"/>
                </a:solidFill>
                <a:latin typeface="+mn-lt"/>
                <a:ea typeface="+mn-ea"/>
                <a:cs typeface="+mn-cs"/>
              </a:defRPr>
            </a:lvl9pPr>
          </a:lstStyle>
          <a:p>
            <a:endParaRPr lang="nl-NL" sz="1693">
              <a:latin typeface="Arial" panose="020B0604020202020204" pitchFamily="34" charset="0"/>
              <a:cs typeface="Arial" panose="020B0604020202020204" pitchFamily="34" charset="0"/>
            </a:endParaRPr>
          </a:p>
          <a:p>
            <a:endParaRPr lang="nl-NL" sz="1693" dirty="0">
              <a:latin typeface="Arial" panose="020B0604020202020204" pitchFamily="34" charset="0"/>
              <a:cs typeface="Arial" panose="020B0604020202020204" pitchFamily="34" charset="0"/>
            </a:endParaRPr>
          </a:p>
        </p:txBody>
      </p:sp>
      <p:pic>
        <p:nvPicPr>
          <p:cNvPr id="4" name="m_-30341864530121529021DC6AA00-CA59-4373-9D0C-D75EB2AA1946">
            <a:extLst>
              <a:ext uri="{FF2B5EF4-FFF2-40B4-BE49-F238E27FC236}">
                <a16:creationId xmlns:a16="http://schemas.microsoft.com/office/drawing/2014/main" id="{F2EE8A74-76BD-4B6F-BE00-8F1D0488627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925" r="35610"/>
          <a:stretch/>
        </p:blipFill>
        <p:spPr bwMode="auto">
          <a:xfrm>
            <a:off x="1103344" y="603229"/>
            <a:ext cx="2245039" cy="2560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a:extLst>
              <a:ext uri="{FF2B5EF4-FFF2-40B4-BE49-F238E27FC236}">
                <a16:creationId xmlns:a16="http://schemas.microsoft.com/office/drawing/2014/main" id="{20F65542-AC05-47D8-82C8-48F1A0770484}"/>
              </a:ext>
            </a:extLst>
          </p:cNvPr>
          <p:cNvSpPr txBox="1"/>
          <p:nvPr/>
        </p:nvSpPr>
        <p:spPr>
          <a:xfrm>
            <a:off x="7262244" y="3338289"/>
            <a:ext cx="4761039" cy="2308324"/>
          </a:xfrm>
          <a:prstGeom prst="rect">
            <a:avLst/>
          </a:prstGeom>
          <a:noFill/>
        </p:spPr>
        <p:txBody>
          <a:bodyPr wrap="square" rtlCol="0">
            <a:spAutoFit/>
          </a:bodyPr>
          <a:lstStyle>
            <a:defPPr>
              <a:defRPr lang="en-US"/>
            </a:defPPr>
            <a:lvl1pPr marL="0" algn="l" defTabSz="967618" rtl="0" eaLnBrk="1" latinLnBrk="0" hangingPunct="1">
              <a:defRPr sz="1905" kern="1200">
                <a:solidFill>
                  <a:schemeClr val="tx1"/>
                </a:solidFill>
                <a:latin typeface="+mn-lt"/>
                <a:ea typeface="+mn-ea"/>
                <a:cs typeface="+mn-cs"/>
              </a:defRPr>
            </a:lvl1pPr>
            <a:lvl2pPr marL="483809" algn="l" defTabSz="967618" rtl="0" eaLnBrk="1" latinLnBrk="0" hangingPunct="1">
              <a:defRPr sz="1905" kern="1200">
                <a:solidFill>
                  <a:schemeClr val="tx1"/>
                </a:solidFill>
                <a:latin typeface="+mn-lt"/>
                <a:ea typeface="+mn-ea"/>
                <a:cs typeface="+mn-cs"/>
              </a:defRPr>
            </a:lvl2pPr>
            <a:lvl3pPr marL="967618" algn="l" defTabSz="967618" rtl="0" eaLnBrk="1" latinLnBrk="0" hangingPunct="1">
              <a:defRPr sz="1905" kern="1200">
                <a:solidFill>
                  <a:schemeClr val="tx1"/>
                </a:solidFill>
                <a:latin typeface="+mn-lt"/>
                <a:ea typeface="+mn-ea"/>
                <a:cs typeface="+mn-cs"/>
              </a:defRPr>
            </a:lvl3pPr>
            <a:lvl4pPr marL="1451427" algn="l" defTabSz="967618" rtl="0" eaLnBrk="1" latinLnBrk="0" hangingPunct="1">
              <a:defRPr sz="1905" kern="1200">
                <a:solidFill>
                  <a:schemeClr val="tx1"/>
                </a:solidFill>
                <a:latin typeface="+mn-lt"/>
                <a:ea typeface="+mn-ea"/>
                <a:cs typeface="+mn-cs"/>
              </a:defRPr>
            </a:lvl4pPr>
            <a:lvl5pPr marL="1935236" algn="l" defTabSz="967618" rtl="0" eaLnBrk="1" latinLnBrk="0" hangingPunct="1">
              <a:defRPr sz="1905" kern="1200">
                <a:solidFill>
                  <a:schemeClr val="tx1"/>
                </a:solidFill>
                <a:latin typeface="+mn-lt"/>
                <a:ea typeface="+mn-ea"/>
                <a:cs typeface="+mn-cs"/>
              </a:defRPr>
            </a:lvl5pPr>
            <a:lvl6pPr marL="2419045" algn="l" defTabSz="967618" rtl="0" eaLnBrk="1" latinLnBrk="0" hangingPunct="1">
              <a:defRPr sz="1905" kern="1200">
                <a:solidFill>
                  <a:schemeClr val="tx1"/>
                </a:solidFill>
                <a:latin typeface="+mn-lt"/>
                <a:ea typeface="+mn-ea"/>
                <a:cs typeface="+mn-cs"/>
              </a:defRPr>
            </a:lvl6pPr>
            <a:lvl7pPr marL="2902854" algn="l" defTabSz="967618" rtl="0" eaLnBrk="1" latinLnBrk="0" hangingPunct="1">
              <a:defRPr sz="1905" kern="1200">
                <a:solidFill>
                  <a:schemeClr val="tx1"/>
                </a:solidFill>
                <a:latin typeface="+mn-lt"/>
                <a:ea typeface="+mn-ea"/>
                <a:cs typeface="+mn-cs"/>
              </a:defRPr>
            </a:lvl7pPr>
            <a:lvl8pPr marL="3386663" algn="l" defTabSz="967618" rtl="0" eaLnBrk="1" latinLnBrk="0" hangingPunct="1">
              <a:defRPr sz="1905" kern="1200">
                <a:solidFill>
                  <a:schemeClr val="tx1"/>
                </a:solidFill>
                <a:latin typeface="+mn-lt"/>
                <a:ea typeface="+mn-ea"/>
                <a:cs typeface="+mn-cs"/>
              </a:defRPr>
            </a:lvl8pPr>
            <a:lvl9pPr marL="3870472" algn="l" defTabSz="967618" rtl="0" eaLnBrk="1" latinLnBrk="0" hangingPunct="1">
              <a:defRPr sz="1905" kern="1200">
                <a:solidFill>
                  <a:schemeClr val="tx1"/>
                </a:solidFill>
                <a:latin typeface="+mn-lt"/>
                <a:ea typeface="+mn-ea"/>
                <a:cs typeface="+mn-cs"/>
              </a:defRPr>
            </a:lvl9pPr>
          </a:lstStyle>
          <a:p>
            <a:r>
              <a:rPr lang="nl-NL" sz="1800" b="1" dirty="0">
                <a:latin typeface="Arial" panose="020B0604020202020204" pitchFamily="34" charset="0"/>
                <a:cs typeface="Arial" panose="020B0604020202020204" pitchFamily="34" charset="0"/>
              </a:rPr>
              <a:t>Zelfstandig ondernemer:</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Organisatiepsycholoog </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Veranderkundige </a:t>
            </a:r>
          </a:p>
          <a:p>
            <a:pPr marL="342900" indent="-342900">
              <a:buFont typeface="Arial" panose="020B0604020202020204" pitchFamily="34" charset="0"/>
              <a:buChar char="•"/>
            </a:pPr>
            <a:endParaRPr lang="nl-NL" sz="1800" dirty="0">
              <a:latin typeface="Arial" panose="020B0604020202020204" pitchFamily="34" charset="0"/>
              <a:cs typeface="Arial" panose="020B0604020202020204" pitchFamily="34" charset="0"/>
            </a:endParaRPr>
          </a:p>
          <a:p>
            <a:r>
              <a:rPr lang="nl-NL" sz="1800" b="1" dirty="0">
                <a:latin typeface="Arial" panose="020B0604020202020204" pitchFamily="34" charset="0"/>
                <a:cs typeface="Arial" panose="020B0604020202020204" pitchFamily="34" charset="0"/>
              </a:rPr>
              <a:t>Nyenrode Universiteit:</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Docent strategie en creativiteit</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PM Collegereeks excellent leiderschap</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PM </a:t>
            </a:r>
            <a:r>
              <a:rPr lang="nl-NL" sz="1800" dirty="0" err="1">
                <a:latin typeface="Arial" panose="020B0604020202020204" pitchFamily="34" charset="0"/>
                <a:cs typeface="Arial" panose="020B0604020202020204" pitchFamily="34" charset="0"/>
              </a:rPr>
              <a:t>Leadership</a:t>
            </a:r>
            <a:r>
              <a:rPr lang="nl-NL" sz="1800" dirty="0">
                <a:latin typeface="Arial" panose="020B0604020202020204" pitchFamily="34" charset="0"/>
                <a:cs typeface="Arial" panose="020B0604020202020204" pitchFamily="34" charset="0"/>
              </a:rPr>
              <a:t> development Program</a:t>
            </a:r>
          </a:p>
        </p:txBody>
      </p:sp>
      <p:pic>
        <p:nvPicPr>
          <p:cNvPr id="6" name="Afbeelding 5" descr="Afbeelding met persoon, vrouw&#10;&#10;Automatisch gegenereerde beschrijving">
            <a:extLst>
              <a:ext uri="{FF2B5EF4-FFF2-40B4-BE49-F238E27FC236}">
                <a16:creationId xmlns:a16="http://schemas.microsoft.com/office/drawing/2014/main" id="{973AE574-02D8-4BC9-9CBD-E75BBDDF8EB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82" b="14875"/>
          <a:stretch/>
        </p:blipFill>
        <p:spPr>
          <a:xfrm>
            <a:off x="8843617" y="580601"/>
            <a:ext cx="2245039" cy="2583046"/>
          </a:xfrm>
          <a:prstGeom prst="rect">
            <a:avLst/>
          </a:prstGeom>
        </p:spPr>
      </p:pic>
      <p:sp>
        <p:nvSpPr>
          <p:cNvPr id="7" name="TextBox 7">
            <a:extLst>
              <a:ext uri="{FF2B5EF4-FFF2-40B4-BE49-F238E27FC236}">
                <a16:creationId xmlns:a16="http://schemas.microsoft.com/office/drawing/2014/main" id="{B44788DF-91F8-4845-8522-E2BD185BE48F}"/>
              </a:ext>
            </a:extLst>
          </p:cNvPr>
          <p:cNvSpPr txBox="1"/>
          <p:nvPr/>
        </p:nvSpPr>
        <p:spPr>
          <a:xfrm>
            <a:off x="265688" y="3402880"/>
            <a:ext cx="4647752" cy="2308324"/>
          </a:xfrm>
          <a:prstGeom prst="rect">
            <a:avLst/>
          </a:prstGeom>
          <a:noFill/>
        </p:spPr>
        <p:txBody>
          <a:bodyPr wrap="square" rtlCol="0">
            <a:spAutoFit/>
          </a:bodyPr>
          <a:lstStyle>
            <a:defPPr>
              <a:defRPr lang="en-US"/>
            </a:defPPr>
            <a:lvl1pPr marL="0" algn="l" defTabSz="967618" rtl="0" eaLnBrk="1" latinLnBrk="0" hangingPunct="1">
              <a:defRPr sz="1905" kern="1200">
                <a:solidFill>
                  <a:schemeClr val="tx1"/>
                </a:solidFill>
                <a:latin typeface="+mn-lt"/>
                <a:ea typeface="+mn-ea"/>
                <a:cs typeface="+mn-cs"/>
              </a:defRPr>
            </a:lvl1pPr>
            <a:lvl2pPr marL="483809" algn="l" defTabSz="967618" rtl="0" eaLnBrk="1" latinLnBrk="0" hangingPunct="1">
              <a:defRPr sz="1905" kern="1200">
                <a:solidFill>
                  <a:schemeClr val="tx1"/>
                </a:solidFill>
                <a:latin typeface="+mn-lt"/>
                <a:ea typeface="+mn-ea"/>
                <a:cs typeface="+mn-cs"/>
              </a:defRPr>
            </a:lvl2pPr>
            <a:lvl3pPr marL="967618" algn="l" defTabSz="967618" rtl="0" eaLnBrk="1" latinLnBrk="0" hangingPunct="1">
              <a:defRPr sz="1905" kern="1200">
                <a:solidFill>
                  <a:schemeClr val="tx1"/>
                </a:solidFill>
                <a:latin typeface="+mn-lt"/>
                <a:ea typeface="+mn-ea"/>
                <a:cs typeface="+mn-cs"/>
              </a:defRPr>
            </a:lvl3pPr>
            <a:lvl4pPr marL="1451427" algn="l" defTabSz="967618" rtl="0" eaLnBrk="1" latinLnBrk="0" hangingPunct="1">
              <a:defRPr sz="1905" kern="1200">
                <a:solidFill>
                  <a:schemeClr val="tx1"/>
                </a:solidFill>
                <a:latin typeface="+mn-lt"/>
                <a:ea typeface="+mn-ea"/>
                <a:cs typeface="+mn-cs"/>
              </a:defRPr>
            </a:lvl4pPr>
            <a:lvl5pPr marL="1935236" algn="l" defTabSz="967618" rtl="0" eaLnBrk="1" latinLnBrk="0" hangingPunct="1">
              <a:defRPr sz="1905" kern="1200">
                <a:solidFill>
                  <a:schemeClr val="tx1"/>
                </a:solidFill>
                <a:latin typeface="+mn-lt"/>
                <a:ea typeface="+mn-ea"/>
                <a:cs typeface="+mn-cs"/>
              </a:defRPr>
            </a:lvl5pPr>
            <a:lvl6pPr marL="2419045" algn="l" defTabSz="967618" rtl="0" eaLnBrk="1" latinLnBrk="0" hangingPunct="1">
              <a:defRPr sz="1905" kern="1200">
                <a:solidFill>
                  <a:schemeClr val="tx1"/>
                </a:solidFill>
                <a:latin typeface="+mn-lt"/>
                <a:ea typeface="+mn-ea"/>
                <a:cs typeface="+mn-cs"/>
              </a:defRPr>
            </a:lvl6pPr>
            <a:lvl7pPr marL="2902854" algn="l" defTabSz="967618" rtl="0" eaLnBrk="1" latinLnBrk="0" hangingPunct="1">
              <a:defRPr sz="1905" kern="1200">
                <a:solidFill>
                  <a:schemeClr val="tx1"/>
                </a:solidFill>
                <a:latin typeface="+mn-lt"/>
                <a:ea typeface="+mn-ea"/>
                <a:cs typeface="+mn-cs"/>
              </a:defRPr>
            </a:lvl7pPr>
            <a:lvl8pPr marL="3386663" algn="l" defTabSz="967618" rtl="0" eaLnBrk="1" latinLnBrk="0" hangingPunct="1">
              <a:defRPr sz="1905" kern="1200">
                <a:solidFill>
                  <a:schemeClr val="tx1"/>
                </a:solidFill>
                <a:latin typeface="+mn-lt"/>
                <a:ea typeface="+mn-ea"/>
                <a:cs typeface="+mn-cs"/>
              </a:defRPr>
            </a:lvl8pPr>
            <a:lvl9pPr marL="3870472" algn="l" defTabSz="967618" rtl="0" eaLnBrk="1" latinLnBrk="0" hangingPunct="1">
              <a:defRPr sz="1905" kern="1200">
                <a:solidFill>
                  <a:schemeClr val="tx1"/>
                </a:solidFill>
                <a:latin typeface="+mn-lt"/>
                <a:ea typeface="+mn-ea"/>
                <a:cs typeface="+mn-cs"/>
              </a:defRPr>
            </a:lvl9pPr>
          </a:lstStyle>
          <a:p>
            <a:r>
              <a:rPr lang="nl-NL" sz="1800" b="1" dirty="0" err="1">
                <a:latin typeface="Arial" panose="020B0604020202020204" pitchFamily="34" charset="0"/>
                <a:cs typeface="Arial" panose="020B0604020202020204" pitchFamily="34" charset="0"/>
              </a:rPr>
              <a:t>Pipelife</a:t>
            </a:r>
            <a:r>
              <a:rPr lang="nl-NL" sz="1800" b="1"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New Business Developer</a:t>
            </a:r>
          </a:p>
          <a:p>
            <a:pPr marL="342900" indent="-342900">
              <a:buFont typeface="Arial" panose="020B0604020202020204" pitchFamily="34" charset="0"/>
              <a:buChar char="•"/>
            </a:pPr>
            <a:r>
              <a:rPr lang="nl-NL" sz="1800" dirty="0" err="1">
                <a:latin typeface="Arial" panose="020B0604020202020204" pitchFamily="34" charset="0"/>
                <a:cs typeface="Arial" panose="020B0604020202020204" pitchFamily="34" charset="0"/>
              </a:rPr>
              <a:t>Martkonderzoeker</a:t>
            </a:r>
            <a:r>
              <a:rPr lang="nl-NL" sz="1800" dirty="0">
                <a:latin typeface="Arial" panose="020B0604020202020204" pitchFamily="34" charset="0"/>
                <a:cs typeface="Arial" panose="020B0604020202020204" pitchFamily="34" charset="0"/>
              </a:rPr>
              <a:t> </a:t>
            </a:r>
          </a:p>
          <a:p>
            <a:pPr marL="826709" lvl="1"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Watercyclus</a:t>
            </a:r>
          </a:p>
          <a:p>
            <a:pPr marL="826709" lvl="1"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Warmte</a:t>
            </a:r>
          </a:p>
          <a:p>
            <a:pPr marL="342900" indent="-342900">
              <a:buFont typeface="Arial" panose="020B0604020202020204" pitchFamily="34" charset="0"/>
              <a:buChar char="•"/>
            </a:pPr>
            <a:r>
              <a:rPr lang="nl-NL" sz="1800" dirty="0">
                <a:latin typeface="Arial" panose="020B0604020202020204" pitchFamily="34" charset="0"/>
                <a:cs typeface="Arial" panose="020B0604020202020204" pitchFamily="34" charset="0"/>
              </a:rPr>
              <a:t>Project manager Smart Solutions</a:t>
            </a:r>
          </a:p>
          <a:p>
            <a:pPr marL="342900" indent="-342900">
              <a:buFont typeface="Arial" panose="020B0604020202020204" pitchFamily="34" charset="0"/>
              <a:buChar char="•"/>
            </a:pPr>
            <a:endParaRPr lang="nl-NL"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nl-NL" sz="1800" dirty="0">
              <a:latin typeface="Arial" panose="020B0604020202020204" pitchFamily="34" charset="0"/>
              <a:cs typeface="Arial" panose="020B0604020202020204" pitchFamily="34" charset="0"/>
            </a:endParaRPr>
          </a:p>
        </p:txBody>
      </p:sp>
      <p:sp>
        <p:nvSpPr>
          <p:cNvPr id="8" name="Tekstvak 7">
            <a:extLst>
              <a:ext uri="{FF2B5EF4-FFF2-40B4-BE49-F238E27FC236}">
                <a16:creationId xmlns:a16="http://schemas.microsoft.com/office/drawing/2014/main" id="{6446C432-0085-4919-B324-614CA30D218D}"/>
              </a:ext>
            </a:extLst>
          </p:cNvPr>
          <p:cNvSpPr txBox="1"/>
          <p:nvPr/>
        </p:nvSpPr>
        <p:spPr>
          <a:xfrm>
            <a:off x="3409024" y="752553"/>
            <a:ext cx="5100320" cy="2585323"/>
          </a:xfrm>
          <a:prstGeom prst="rect">
            <a:avLst/>
          </a:prstGeom>
          <a:noFill/>
        </p:spPr>
        <p:txBody>
          <a:bodyPr wrap="square" rtlCol="0">
            <a:spAutoFit/>
          </a:bodyPr>
          <a:lstStyle/>
          <a:p>
            <a:pPr algn="ctr"/>
            <a:r>
              <a:rPr lang="nl-NL" sz="5400" b="1" dirty="0">
                <a:latin typeface="Arial" panose="020B0604020202020204" pitchFamily="34" charset="0"/>
                <a:cs typeface="Arial" panose="020B0604020202020204" pitchFamily="34" charset="0"/>
              </a:rPr>
              <a:t>Leidingen </a:t>
            </a:r>
          </a:p>
          <a:p>
            <a:pPr algn="ctr"/>
            <a:r>
              <a:rPr lang="nl-NL" sz="5400" b="1" dirty="0">
                <a:latin typeface="Arial" panose="020B0604020202020204" pitchFamily="34" charset="0"/>
                <a:cs typeface="Arial" panose="020B0604020202020204" pitchFamily="34" charset="0"/>
              </a:rPr>
              <a:t>&amp; </a:t>
            </a:r>
          </a:p>
          <a:p>
            <a:pPr algn="ctr"/>
            <a:r>
              <a:rPr lang="nl-NL" sz="5400" b="1" dirty="0">
                <a:latin typeface="Arial" panose="020B0604020202020204" pitchFamily="34" charset="0"/>
                <a:cs typeface="Arial" panose="020B0604020202020204" pitchFamily="34" charset="0"/>
              </a:rPr>
              <a:t>Leidinggeven </a:t>
            </a:r>
          </a:p>
        </p:txBody>
      </p:sp>
      <p:pic>
        <p:nvPicPr>
          <p:cNvPr id="18" name="Afbeelding 17">
            <a:extLst>
              <a:ext uri="{FF2B5EF4-FFF2-40B4-BE49-F238E27FC236}">
                <a16:creationId xmlns:a16="http://schemas.microsoft.com/office/drawing/2014/main" id="{D46DD166-4D52-46AF-8CC4-DB78D09598D6}"/>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9692640" y="5892622"/>
            <a:ext cx="2499360" cy="965378"/>
          </a:xfrm>
          <a:prstGeom prst="rect">
            <a:avLst/>
          </a:prstGeom>
        </p:spPr>
      </p:pic>
      <p:pic>
        <p:nvPicPr>
          <p:cNvPr id="20" name="Afbeelding 19" descr="Afbeelding met tekst, illustratie&#10;&#10;Automatisch gegenereerde beschrijving">
            <a:extLst>
              <a:ext uri="{FF2B5EF4-FFF2-40B4-BE49-F238E27FC236}">
                <a16:creationId xmlns:a16="http://schemas.microsoft.com/office/drawing/2014/main" id="{E9E26AFB-4F1C-4A49-8728-63707859FF33}"/>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240918" y="6043005"/>
            <a:ext cx="3168106" cy="560755"/>
          </a:xfrm>
          <a:prstGeom prst="rect">
            <a:avLst/>
          </a:prstGeom>
        </p:spPr>
      </p:pic>
    </p:spTree>
    <p:extLst>
      <p:ext uri="{BB962C8B-B14F-4D97-AF65-F5344CB8AC3E}">
        <p14:creationId xmlns:p14="http://schemas.microsoft.com/office/powerpoint/2010/main" val="3200944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0564A9-D5F2-4A19-AB51-6D49D1638719}"/>
              </a:ext>
            </a:extLst>
          </p:cNvPr>
          <p:cNvSpPr>
            <a:spLocks noGrp="1"/>
          </p:cNvSpPr>
          <p:nvPr>
            <p:ph type="title"/>
          </p:nvPr>
        </p:nvSpPr>
        <p:spPr/>
        <p:txBody>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nl-NL" dirty="0"/>
          </a:p>
        </p:txBody>
      </p:sp>
      <p:pic>
        <p:nvPicPr>
          <p:cNvPr id="3" name="Afbeelding 2">
            <a:extLst>
              <a:ext uri="{FF2B5EF4-FFF2-40B4-BE49-F238E27FC236}">
                <a16:creationId xmlns:a16="http://schemas.microsoft.com/office/drawing/2014/main" id="{8BD83E75-2B5D-4666-99D4-6EC396AB2937}"/>
              </a:ext>
            </a:extLst>
          </p:cNvPr>
          <p:cNvPicPr>
            <a:picLocks noChangeAspect="1"/>
          </p:cNvPicPr>
          <p:nvPr/>
        </p:nvPicPr>
        <p:blipFill rotWithShape="1">
          <a:blip r:embed="rId2"/>
          <a:srcRect l="54485" t="13529" r="4927" b="7778"/>
          <a:stretch/>
        </p:blipFill>
        <p:spPr>
          <a:xfrm>
            <a:off x="1" y="-40640"/>
            <a:ext cx="12576799" cy="6858000"/>
          </a:xfrm>
          <a:prstGeom prst="rect">
            <a:avLst/>
          </a:prstGeom>
        </p:spPr>
      </p:pic>
      <p:sp>
        <p:nvSpPr>
          <p:cNvPr id="4" name="Tekstvak 3">
            <a:extLst>
              <a:ext uri="{FF2B5EF4-FFF2-40B4-BE49-F238E27FC236}">
                <a16:creationId xmlns:a16="http://schemas.microsoft.com/office/drawing/2014/main" id="{86F31461-69C2-4693-9C7D-4ECBC1ABBC6D}"/>
              </a:ext>
            </a:extLst>
          </p:cNvPr>
          <p:cNvSpPr txBox="1"/>
          <p:nvPr/>
        </p:nvSpPr>
        <p:spPr>
          <a:xfrm>
            <a:off x="584201" y="0"/>
            <a:ext cx="3164839" cy="369332"/>
          </a:xfrm>
          <a:prstGeom prst="rect">
            <a:avLst/>
          </a:prstGeom>
          <a:noFill/>
        </p:spPr>
        <p:txBody>
          <a:bodyPr wrap="square" rtlCol="0">
            <a:spAutoFit/>
          </a:bodyPr>
          <a:lstStyle/>
          <a:p>
            <a:r>
              <a:rPr lang="nl-NL" dirty="0" err="1">
                <a:solidFill>
                  <a:schemeClr val="bg1"/>
                </a:solidFill>
                <a:latin typeface="Calibri" panose="020F0502020204030204" pitchFamily="34" charset="0"/>
                <a:cs typeface="Calibri" panose="020F0502020204030204" pitchFamily="34" charset="0"/>
              </a:rPr>
              <a:t>Pipelife</a:t>
            </a:r>
            <a:r>
              <a:rPr lang="nl-NL" dirty="0">
                <a:solidFill>
                  <a:schemeClr val="bg1"/>
                </a:solidFill>
                <a:latin typeface="Calibri" panose="020F0502020204030204" pitchFamily="34" charset="0"/>
                <a:cs typeface="Calibri" panose="020F0502020204030204" pitchFamily="34" charset="0"/>
              </a:rPr>
              <a:t> in een notendop</a:t>
            </a:r>
          </a:p>
        </p:txBody>
      </p:sp>
    </p:spTree>
    <p:extLst>
      <p:ext uri="{BB962C8B-B14F-4D97-AF65-F5344CB8AC3E}">
        <p14:creationId xmlns:p14="http://schemas.microsoft.com/office/powerpoint/2010/main" val="34001451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9FCA3B7-2F78-4EA8-AEDE-A9D83F149D8E}"/>
              </a:ext>
            </a:extLst>
          </p:cNvPr>
          <p:cNvSpPr/>
          <p:nvPr/>
        </p:nvSpPr>
        <p:spPr>
          <a:xfrm>
            <a:off x="528320" y="658843"/>
            <a:ext cx="11292585" cy="6155531"/>
          </a:xfrm>
          <a:prstGeom prst="rect">
            <a:avLst/>
          </a:prstGeom>
        </p:spPr>
        <p:txBody>
          <a:bodyPr wrap="square">
            <a:spAutoFit/>
          </a:bodyPr>
          <a:lstStyle/>
          <a:p>
            <a:r>
              <a:rPr lang="en-US" sz="3800" b="1" dirty="0">
                <a:solidFill>
                  <a:schemeClr val="tx2"/>
                </a:solidFill>
                <a:latin typeface="+mj-lt"/>
              </a:rPr>
              <a:t>		   	= </a:t>
            </a:r>
          </a:p>
          <a:p>
            <a:r>
              <a:rPr lang="en-US" sz="3800" b="1" dirty="0">
                <a:solidFill>
                  <a:schemeClr val="tx2"/>
                </a:solidFill>
                <a:latin typeface="+mj-lt"/>
              </a:rPr>
              <a:t>= </a:t>
            </a:r>
            <a:r>
              <a:rPr lang="en-US" sz="3800" b="1" dirty="0" err="1">
                <a:solidFill>
                  <a:schemeClr val="tx2"/>
                </a:solidFill>
                <a:latin typeface="+mj-lt"/>
              </a:rPr>
              <a:t>Draka</a:t>
            </a:r>
            <a:r>
              <a:rPr lang="en-US" sz="3800" b="1" dirty="0">
                <a:solidFill>
                  <a:schemeClr val="tx2"/>
                </a:solidFill>
                <a:latin typeface="+mj-lt"/>
              </a:rPr>
              <a:t> Plastics and </a:t>
            </a:r>
            <a:r>
              <a:rPr lang="en-US" sz="3800" b="1" dirty="0" err="1">
                <a:solidFill>
                  <a:schemeClr val="tx2"/>
                </a:solidFill>
                <a:latin typeface="+mj-lt"/>
              </a:rPr>
              <a:t>Polva</a:t>
            </a:r>
            <a:r>
              <a:rPr lang="en-US" sz="3800" b="1" dirty="0">
                <a:solidFill>
                  <a:schemeClr val="tx2"/>
                </a:solidFill>
                <a:latin typeface="+mj-lt"/>
              </a:rPr>
              <a:t> Nederland</a:t>
            </a:r>
          </a:p>
          <a:p>
            <a:pPr marL="285750" indent="-285750">
              <a:buFont typeface="Arial" panose="020B0604020202020204" pitchFamily="34" charset="0"/>
              <a:buChar char="•"/>
            </a:pPr>
            <a:endParaRPr lang="en-US" sz="4000" dirty="0">
              <a:solidFill>
                <a:schemeClr val="tx2"/>
              </a:solidFill>
              <a:latin typeface="+mj-lt"/>
            </a:endParaRPr>
          </a:p>
          <a:p>
            <a:r>
              <a:rPr lang="en-US" sz="2400" dirty="0" err="1">
                <a:solidFill>
                  <a:schemeClr val="tx2"/>
                </a:solidFill>
                <a:latin typeface="+mj-lt"/>
              </a:rPr>
              <a:t>Locatie</a:t>
            </a:r>
            <a:r>
              <a:rPr lang="en-US" sz="2400" dirty="0">
                <a:solidFill>
                  <a:schemeClr val="tx2"/>
                </a:solidFill>
                <a:latin typeface="+mj-lt"/>
              </a:rPr>
              <a:t>: </a:t>
            </a:r>
            <a:r>
              <a:rPr lang="en-US" sz="2400" dirty="0" err="1">
                <a:solidFill>
                  <a:schemeClr val="tx2"/>
                </a:solidFill>
                <a:latin typeface="+mj-lt"/>
              </a:rPr>
              <a:t>Enkhuizen</a:t>
            </a:r>
            <a:r>
              <a:rPr lang="en-US" sz="2400" dirty="0">
                <a:solidFill>
                  <a:schemeClr val="tx2"/>
                </a:solidFill>
                <a:latin typeface="+mj-lt"/>
              </a:rPr>
              <a:t>, </a:t>
            </a:r>
          </a:p>
          <a:p>
            <a:pPr marL="285750" indent="-285750">
              <a:buFont typeface="Arial" panose="020B0604020202020204" pitchFamily="34" charset="0"/>
              <a:buChar char="•"/>
            </a:pPr>
            <a:r>
              <a:rPr lang="en-US" sz="2400" dirty="0">
                <a:solidFill>
                  <a:schemeClr val="tx2"/>
                </a:solidFill>
                <a:latin typeface="+mj-lt"/>
              </a:rPr>
              <a:t>2 </a:t>
            </a:r>
            <a:r>
              <a:rPr lang="en-US" sz="2400" dirty="0" err="1">
                <a:solidFill>
                  <a:schemeClr val="tx2"/>
                </a:solidFill>
                <a:latin typeface="+mj-lt"/>
              </a:rPr>
              <a:t>fabrieken</a:t>
            </a:r>
            <a:r>
              <a:rPr lang="en-US" sz="2400" dirty="0">
                <a:solidFill>
                  <a:schemeClr val="tx2"/>
                </a:solidFill>
                <a:latin typeface="+mj-lt"/>
              </a:rPr>
              <a:t> = </a:t>
            </a:r>
            <a:r>
              <a:rPr lang="en-US" sz="2400" dirty="0" err="1">
                <a:solidFill>
                  <a:schemeClr val="tx2"/>
                </a:solidFill>
                <a:latin typeface="+mj-lt"/>
              </a:rPr>
              <a:t>Spuitgiet</a:t>
            </a:r>
            <a:r>
              <a:rPr lang="en-US" sz="2400" dirty="0">
                <a:solidFill>
                  <a:schemeClr val="tx2"/>
                </a:solidFill>
                <a:latin typeface="+mj-lt"/>
              </a:rPr>
              <a:t> </a:t>
            </a:r>
            <a:r>
              <a:rPr lang="en-US" sz="2400" dirty="0" err="1">
                <a:solidFill>
                  <a:schemeClr val="tx2"/>
                </a:solidFill>
                <a:latin typeface="+mj-lt"/>
              </a:rPr>
              <a:t>en</a:t>
            </a:r>
            <a:r>
              <a:rPr lang="en-US" sz="2400" dirty="0">
                <a:solidFill>
                  <a:schemeClr val="tx2"/>
                </a:solidFill>
                <a:latin typeface="+mj-lt"/>
              </a:rPr>
              <a:t> </a:t>
            </a:r>
            <a:r>
              <a:rPr lang="en-US" sz="2400" dirty="0" err="1">
                <a:solidFill>
                  <a:schemeClr val="tx2"/>
                </a:solidFill>
                <a:latin typeface="+mj-lt"/>
              </a:rPr>
              <a:t>extrusie</a:t>
            </a:r>
            <a:endParaRPr lang="en-US" sz="2400" dirty="0">
              <a:solidFill>
                <a:schemeClr val="tx2"/>
              </a:solidFill>
              <a:latin typeface="+mj-lt"/>
            </a:endParaRPr>
          </a:p>
          <a:p>
            <a:pPr marL="285750" indent="-285750">
              <a:buFont typeface="Arial" panose="020B0604020202020204" pitchFamily="34" charset="0"/>
              <a:buChar char="•"/>
            </a:pPr>
            <a:r>
              <a:rPr lang="en-US" sz="2400" dirty="0" err="1">
                <a:solidFill>
                  <a:schemeClr val="tx2"/>
                </a:solidFill>
                <a:latin typeface="+mj-lt"/>
              </a:rPr>
              <a:t>Kantoren</a:t>
            </a:r>
            <a:r>
              <a:rPr lang="en-US" sz="2400" dirty="0">
                <a:solidFill>
                  <a:schemeClr val="tx2"/>
                </a:solidFill>
                <a:latin typeface="+mj-lt"/>
              </a:rPr>
              <a:t> = Sales, marketing, HR </a:t>
            </a:r>
            <a:r>
              <a:rPr lang="en-US" sz="2400" dirty="0" err="1">
                <a:solidFill>
                  <a:schemeClr val="tx2"/>
                </a:solidFill>
                <a:latin typeface="+mj-lt"/>
              </a:rPr>
              <a:t>logistiek</a:t>
            </a:r>
            <a:r>
              <a:rPr lang="en-US" sz="2400" dirty="0">
                <a:solidFill>
                  <a:schemeClr val="tx2"/>
                </a:solidFill>
                <a:latin typeface="+mj-lt"/>
              </a:rPr>
              <a:t> </a:t>
            </a:r>
            <a:r>
              <a:rPr lang="en-US" sz="2400" dirty="0" err="1">
                <a:solidFill>
                  <a:schemeClr val="tx2"/>
                </a:solidFill>
                <a:latin typeface="+mj-lt"/>
              </a:rPr>
              <a:t>en</a:t>
            </a:r>
            <a:r>
              <a:rPr lang="en-US" sz="2400" dirty="0">
                <a:solidFill>
                  <a:schemeClr val="tx2"/>
                </a:solidFill>
                <a:latin typeface="+mj-lt"/>
              </a:rPr>
              <a:t> IT </a:t>
            </a:r>
          </a:p>
          <a:p>
            <a:pPr marL="285750" indent="-285750">
              <a:buFont typeface="Arial" panose="020B0604020202020204" pitchFamily="34" charset="0"/>
              <a:buChar char="•"/>
            </a:pPr>
            <a:r>
              <a:rPr lang="en-US" sz="2400" dirty="0">
                <a:solidFill>
                  <a:schemeClr val="tx2"/>
                </a:solidFill>
                <a:latin typeface="+mj-lt"/>
              </a:rPr>
              <a:t>International R&amp;D </a:t>
            </a:r>
          </a:p>
          <a:p>
            <a:pPr marL="285750" indent="-285750">
              <a:buFont typeface="Arial" panose="020B0604020202020204" pitchFamily="34" charset="0"/>
              <a:buChar char="•"/>
            </a:pPr>
            <a:r>
              <a:rPr lang="en-US" sz="2400" dirty="0" err="1">
                <a:solidFill>
                  <a:schemeClr val="tx2"/>
                </a:solidFill>
                <a:latin typeface="+mj-lt"/>
              </a:rPr>
              <a:t>Soluforce</a:t>
            </a:r>
            <a:endParaRPr lang="en-US" sz="2400" dirty="0">
              <a:solidFill>
                <a:schemeClr val="tx2"/>
              </a:solidFill>
              <a:latin typeface="+mj-lt"/>
            </a:endParaRPr>
          </a:p>
          <a:p>
            <a:pPr marL="285750" indent="-285750">
              <a:buFont typeface="Arial" panose="020B0604020202020204" pitchFamily="34" charset="0"/>
              <a:buChar char="•"/>
            </a:pPr>
            <a:endParaRPr lang="en-US" sz="2400" dirty="0">
              <a:solidFill>
                <a:schemeClr val="tx2"/>
              </a:solidFill>
              <a:latin typeface="+mj-lt"/>
            </a:endParaRPr>
          </a:p>
          <a:p>
            <a:r>
              <a:rPr lang="en-US" sz="2400" dirty="0" err="1">
                <a:solidFill>
                  <a:schemeClr val="tx2"/>
                </a:solidFill>
                <a:latin typeface="+mj-lt"/>
              </a:rPr>
              <a:t>Locatie</a:t>
            </a:r>
            <a:r>
              <a:rPr lang="en-US" sz="2400" dirty="0">
                <a:solidFill>
                  <a:schemeClr val="tx2"/>
                </a:solidFill>
                <a:latin typeface="+mj-lt"/>
              </a:rPr>
              <a:t> ‘s </a:t>
            </a:r>
            <a:r>
              <a:rPr lang="en-US" sz="2400" dirty="0" err="1">
                <a:solidFill>
                  <a:schemeClr val="tx2"/>
                </a:solidFill>
                <a:latin typeface="+mj-lt"/>
              </a:rPr>
              <a:t>Gravendeel</a:t>
            </a:r>
            <a:r>
              <a:rPr lang="en-US" sz="2400" dirty="0">
                <a:solidFill>
                  <a:schemeClr val="tx2"/>
                </a:solidFill>
                <a:latin typeface="+mj-lt"/>
              </a:rPr>
              <a:t>: </a:t>
            </a:r>
          </a:p>
          <a:p>
            <a:pPr marL="285750" indent="-285750">
              <a:buFont typeface="Arial" panose="020B0604020202020204" pitchFamily="34" charset="0"/>
              <a:buChar char="•"/>
            </a:pPr>
            <a:r>
              <a:rPr lang="en-US" sz="2400" dirty="0" err="1">
                <a:solidFill>
                  <a:schemeClr val="tx2"/>
                </a:solidFill>
                <a:latin typeface="+mj-lt"/>
              </a:rPr>
              <a:t>Ommanteling</a:t>
            </a:r>
            <a:r>
              <a:rPr lang="en-US" sz="2400" dirty="0">
                <a:solidFill>
                  <a:schemeClr val="tx2"/>
                </a:solidFill>
                <a:latin typeface="+mj-lt"/>
              </a:rPr>
              <a:t> </a:t>
            </a:r>
            <a:r>
              <a:rPr lang="en-US" sz="2400" dirty="0" err="1">
                <a:solidFill>
                  <a:schemeClr val="tx2"/>
                </a:solidFill>
                <a:latin typeface="+mj-lt"/>
              </a:rPr>
              <a:t>drainagebuizen</a:t>
            </a:r>
            <a:endParaRPr lang="en-US" sz="2400" dirty="0">
              <a:solidFill>
                <a:schemeClr val="tx2"/>
              </a:solidFill>
              <a:latin typeface="+mj-lt"/>
            </a:endParaRPr>
          </a:p>
          <a:p>
            <a:endParaRPr lang="en-US" sz="2400" dirty="0">
              <a:solidFill>
                <a:schemeClr val="tx2"/>
              </a:solidFill>
              <a:latin typeface="+mj-lt"/>
            </a:endParaRPr>
          </a:p>
          <a:p>
            <a:r>
              <a:rPr lang="en-US" sz="3800" b="1" dirty="0">
                <a:solidFill>
                  <a:schemeClr val="tx2"/>
                </a:solidFill>
                <a:latin typeface="+mj-lt"/>
              </a:rPr>
              <a:t>In 2022 </a:t>
            </a:r>
            <a:r>
              <a:rPr lang="en-US" sz="3800" b="1" dirty="0" err="1">
                <a:solidFill>
                  <a:schemeClr val="tx2"/>
                </a:solidFill>
                <a:latin typeface="+mj-lt"/>
              </a:rPr>
              <a:t>vieren</a:t>
            </a:r>
            <a:r>
              <a:rPr lang="en-US" sz="3800" b="1" dirty="0">
                <a:solidFill>
                  <a:schemeClr val="tx2"/>
                </a:solidFill>
                <a:latin typeface="+mj-lt"/>
              </a:rPr>
              <a:t> we </a:t>
            </a:r>
            <a:r>
              <a:rPr lang="en-US" sz="3800" b="1" dirty="0" err="1">
                <a:solidFill>
                  <a:schemeClr val="tx2"/>
                </a:solidFill>
                <a:latin typeface="+mj-lt"/>
              </a:rPr>
              <a:t>ons</a:t>
            </a:r>
            <a:r>
              <a:rPr lang="en-US" sz="3800" b="1" dirty="0">
                <a:solidFill>
                  <a:schemeClr val="tx2"/>
                </a:solidFill>
                <a:latin typeface="+mj-lt"/>
              </a:rPr>
              <a:t> 75 </a:t>
            </a:r>
            <a:r>
              <a:rPr lang="en-US" sz="3800" b="1" dirty="0" err="1">
                <a:solidFill>
                  <a:schemeClr val="tx2"/>
                </a:solidFill>
                <a:latin typeface="+mj-lt"/>
              </a:rPr>
              <a:t>jarig</a:t>
            </a:r>
            <a:r>
              <a:rPr lang="en-US" sz="3800" b="1" dirty="0">
                <a:solidFill>
                  <a:schemeClr val="tx2"/>
                </a:solidFill>
                <a:latin typeface="+mj-lt"/>
              </a:rPr>
              <a:t> </a:t>
            </a:r>
            <a:r>
              <a:rPr lang="en-US" sz="3800" b="1" dirty="0" err="1">
                <a:solidFill>
                  <a:schemeClr val="tx2"/>
                </a:solidFill>
                <a:latin typeface="+mj-lt"/>
              </a:rPr>
              <a:t>bestaan</a:t>
            </a:r>
            <a:r>
              <a:rPr lang="en-US" sz="3800" b="1" dirty="0">
                <a:solidFill>
                  <a:schemeClr val="tx2"/>
                </a:solidFill>
                <a:latin typeface="+mj-lt"/>
              </a:rPr>
              <a:t> </a:t>
            </a:r>
          </a:p>
          <a:p>
            <a:pPr marL="285750" indent="-285750">
              <a:buFont typeface="Arial" panose="020B0604020202020204" pitchFamily="34" charset="0"/>
              <a:buChar char="•"/>
            </a:pPr>
            <a:endParaRPr lang="en-US" sz="2400" dirty="0">
              <a:solidFill>
                <a:schemeClr val="tx2"/>
              </a:solidFill>
              <a:latin typeface="+mj-lt"/>
            </a:endParaRPr>
          </a:p>
        </p:txBody>
      </p:sp>
      <p:pic>
        <p:nvPicPr>
          <p:cNvPr id="1027" name="Picture 3" descr="Sewage">
            <a:extLst>
              <a:ext uri="{FF2B5EF4-FFF2-40B4-BE49-F238E27FC236}">
                <a16:creationId xmlns:a16="http://schemas.microsoft.com/office/drawing/2014/main" id="{A0A80076-8F4C-43AD-B97C-B52EFD9533F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19892" y="4827549"/>
            <a:ext cx="2001013" cy="125063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E376ADA0-A419-422B-9511-0CEFC82C2E8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nl-NL" altLang="nl-NL" sz="1800" b="0" i="0" u="none" strike="noStrike" cap="none" normalizeH="0" baseline="0">
                <a:ln>
                  <a:noFill/>
                </a:ln>
                <a:solidFill>
                  <a:schemeClr val="tx1"/>
                </a:solidFill>
                <a:effectLst/>
                <a:latin typeface="Arial" panose="020B0604020202020204" pitchFamily="34" charset="0"/>
              </a:rPr>
            </a:br>
            <a:endParaRPr kumimoji="0" lang="nl-NL" altLang="nl-NL" sz="1800" b="0" i="0" u="none" strike="noStrike" cap="none" normalizeH="0" baseline="0">
              <a:ln>
                <a:noFill/>
              </a:ln>
              <a:solidFill>
                <a:schemeClr val="tx1"/>
              </a:solidFill>
              <a:effectLst/>
              <a:latin typeface="Arial" panose="020B0604020202020204" pitchFamily="34" charset="0"/>
            </a:endParaRPr>
          </a:p>
        </p:txBody>
      </p:sp>
      <p:pic>
        <p:nvPicPr>
          <p:cNvPr id="1029" name="Picture 5" descr="Potable Water">
            <a:extLst>
              <a:ext uri="{FF2B5EF4-FFF2-40B4-BE49-F238E27FC236}">
                <a16:creationId xmlns:a16="http://schemas.microsoft.com/office/drawing/2014/main" id="{992384BB-B4B6-430E-AA93-7DE19887CBB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19893" y="1609184"/>
            <a:ext cx="2001013" cy="125063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as">
            <a:extLst>
              <a:ext uri="{FF2B5EF4-FFF2-40B4-BE49-F238E27FC236}">
                <a16:creationId xmlns:a16="http://schemas.microsoft.com/office/drawing/2014/main" id="{F3626B89-1D3C-4653-9978-49BE44554D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19892" y="3218366"/>
            <a:ext cx="2001014" cy="1250634"/>
          </a:xfrm>
          <a:prstGeom prst="rect">
            <a:avLst/>
          </a:prstGeom>
          <a:noFill/>
          <a:extLst>
            <a:ext uri="{909E8E84-426E-40DD-AFC4-6F175D3DCCD1}">
              <a14:hiddenFill xmlns:a14="http://schemas.microsoft.com/office/drawing/2010/main">
                <a:solidFill>
                  <a:srgbClr val="FFFFFF"/>
                </a:solidFill>
              </a14:hiddenFill>
            </a:ext>
          </a:extLst>
        </p:spPr>
      </p:pic>
      <p:pic>
        <p:nvPicPr>
          <p:cNvPr id="9" name="Afbeelding 8" descr="Afbeelding met tekst, illustratie&#10;&#10;Automatisch gegenereerde beschrijving">
            <a:extLst>
              <a:ext uri="{FF2B5EF4-FFF2-40B4-BE49-F238E27FC236}">
                <a16:creationId xmlns:a16="http://schemas.microsoft.com/office/drawing/2014/main" id="{1E1FAEC4-72E8-4890-A374-A8E3770D052C}"/>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99439" y="518945"/>
            <a:ext cx="3841428" cy="679933"/>
          </a:xfrm>
          <a:prstGeom prst="rect">
            <a:avLst/>
          </a:prstGeom>
        </p:spPr>
      </p:pic>
    </p:spTree>
    <p:extLst>
      <p:ext uri="{BB962C8B-B14F-4D97-AF65-F5344CB8AC3E}">
        <p14:creationId xmlns:p14="http://schemas.microsoft.com/office/powerpoint/2010/main" val="163090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9FCA3B7-2F78-4EA8-AEDE-A9D83F149D8E}"/>
              </a:ext>
            </a:extLst>
          </p:cNvPr>
          <p:cNvSpPr/>
          <p:nvPr/>
        </p:nvSpPr>
        <p:spPr>
          <a:xfrm>
            <a:off x="395540" y="360479"/>
            <a:ext cx="10791319" cy="6247864"/>
          </a:xfrm>
          <a:prstGeom prst="rect">
            <a:avLst/>
          </a:prstGeom>
        </p:spPr>
        <p:txBody>
          <a:bodyPr wrap="square">
            <a:spAutoFit/>
          </a:bodyPr>
          <a:lstStyle/>
          <a:p>
            <a:pPr marL="285750" indent="-285750">
              <a:buFont typeface="Arial" panose="020B0604020202020204" pitchFamily="34" charset="0"/>
              <a:buChar char="•"/>
            </a:pPr>
            <a:endParaRPr lang="en-US" sz="4000" dirty="0">
              <a:solidFill>
                <a:schemeClr val="tx2"/>
              </a:solidFill>
              <a:latin typeface="+mj-lt"/>
            </a:endParaRPr>
          </a:p>
          <a:p>
            <a:r>
              <a:rPr lang="en-US" sz="2400" dirty="0">
                <a:solidFill>
                  <a:schemeClr val="tx2"/>
                </a:solidFill>
                <a:latin typeface="+mj-lt"/>
              </a:rPr>
              <a:t> Complete </a:t>
            </a:r>
            <a:r>
              <a:rPr lang="en-US" sz="2400" dirty="0" err="1">
                <a:solidFill>
                  <a:schemeClr val="tx2"/>
                </a:solidFill>
                <a:latin typeface="+mj-lt"/>
              </a:rPr>
              <a:t>systemen</a:t>
            </a:r>
            <a:r>
              <a:rPr lang="en-US" sz="2400" dirty="0">
                <a:solidFill>
                  <a:schemeClr val="tx2"/>
                </a:solidFill>
                <a:latin typeface="+mj-lt"/>
              </a:rPr>
              <a:t> </a:t>
            </a:r>
            <a:r>
              <a:rPr lang="en-US" sz="2400" dirty="0" err="1">
                <a:solidFill>
                  <a:schemeClr val="tx2"/>
                </a:solidFill>
                <a:latin typeface="+mj-lt"/>
              </a:rPr>
              <a:t>o.a.</a:t>
            </a:r>
            <a:r>
              <a:rPr lang="en-US" sz="2400" dirty="0">
                <a:solidFill>
                  <a:schemeClr val="tx2"/>
                </a:solidFill>
                <a:latin typeface="+mj-lt"/>
              </a:rPr>
              <a:t> </a:t>
            </a:r>
            <a:r>
              <a:rPr lang="en-US" sz="2400" dirty="0" err="1">
                <a:solidFill>
                  <a:schemeClr val="tx2"/>
                </a:solidFill>
                <a:latin typeface="+mj-lt"/>
              </a:rPr>
              <a:t>voor</a:t>
            </a:r>
            <a:r>
              <a:rPr lang="en-US" sz="2400" dirty="0">
                <a:solidFill>
                  <a:schemeClr val="tx2"/>
                </a:solidFill>
                <a:latin typeface="+mj-lt"/>
              </a:rPr>
              <a:t>: </a:t>
            </a:r>
            <a:br>
              <a:rPr lang="en-US" sz="2400" dirty="0">
                <a:solidFill>
                  <a:schemeClr val="tx2"/>
                </a:solidFill>
                <a:latin typeface="+mj-lt"/>
              </a:rPr>
            </a:br>
            <a:endParaRPr lang="en-US" sz="2400" dirty="0">
              <a:solidFill>
                <a:schemeClr val="tx2"/>
              </a:solidFill>
              <a:latin typeface="+mj-lt"/>
            </a:endParaRPr>
          </a:p>
          <a:p>
            <a:pPr marL="342900" indent="-342900">
              <a:buFont typeface="Arial" panose="020B0604020202020204" pitchFamily="34" charset="0"/>
              <a:buChar char="•"/>
            </a:pPr>
            <a:r>
              <a:rPr lang="en-US" sz="3200" b="1" dirty="0">
                <a:solidFill>
                  <a:schemeClr val="tx2"/>
                </a:solidFill>
                <a:latin typeface="+mj-lt"/>
              </a:rPr>
              <a:t>Drinkwater</a:t>
            </a:r>
            <a:r>
              <a:rPr lang="en-US" sz="3200" dirty="0">
                <a:solidFill>
                  <a:schemeClr val="tx2"/>
                </a:solidFill>
                <a:latin typeface="+mj-lt"/>
              </a:rPr>
              <a:t>	</a:t>
            </a:r>
          </a:p>
          <a:p>
            <a:endParaRPr lang="en-US" sz="3200" dirty="0">
              <a:solidFill>
                <a:schemeClr val="tx2"/>
              </a:solidFill>
              <a:latin typeface="+mj-lt"/>
            </a:endParaRPr>
          </a:p>
          <a:p>
            <a:pPr marL="342900" indent="-342900">
              <a:buFont typeface="Arial" panose="020B0604020202020204" pitchFamily="34" charset="0"/>
              <a:buChar char="•"/>
            </a:pPr>
            <a:r>
              <a:rPr lang="en-US" sz="3200" dirty="0">
                <a:solidFill>
                  <a:schemeClr val="tx2"/>
                </a:solidFill>
                <a:latin typeface="+mj-lt"/>
              </a:rPr>
              <a:t>Gas	</a:t>
            </a:r>
          </a:p>
          <a:p>
            <a:pPr marL="342900" indent="-342900">
              <a:buFont typeface="Arial" panose="020B0604020202020204" pitchFamily="34" charset="0"/>
              <a:buChar char="•"/>
            </a:pPr>
            <a:endParaRPr lang="en-US" sz="3200" dirty="0">
              <a:solidFill>
                <a:schemeClr val="tx2"/>
              </a:solidFill>
              <a:latin typeface="+mj-lt"/>
            </a:endParaRPr>
          </a:p>
          <a:p>
            <a:pPr marL="342900" indent="-342900">
              <a:buFont typeface="Arial" panose="020B0604020202020204" pitchFamily="34" charset="0"/>
              <a:buChar char="•"/>
            </a:pPr>
            <a:r>
              <a:rPr lang="en-US" sz="3200" dirty="0" err="1">
                <a:solidFill>
                  <a:schemeClr val="tx2"/>
                </a:solidFill>
                <a:latin typeface="+mj-lt"/>
              </a:rPr>
              <a:t>Elektro</a:t>
            </a:r>
            <a:r>
              <a:rPr lang="en-US" sz="3200" dirty="0">
                <a:solidFill>
                  <a:schemeClr val="tx2"/>
                </a:solidFill>
                <a:latin typeface="+mj-lt"/>
              </a:rPr>
              <a:t>	</a:t>
            </a:r>
          </a:p>
          <a:p>
            <a:pPr marL="342900" indent="-342900">
              <a:buFont typeface="Arial" panose="020B0604020202020204" pitchFamily="34" charset="0"/>
              <a:buChar char="•"/>
            </a:pPr>
            <a:endParaRPr lang="en-US" sz="3200" dirty="0">
              <a:solidFill>
                <a:schemeClr val="tx2"/>
              </a:solidFill>
              <a:latin typeface="+mj-lt"/>
            </a:endParaRPr>
          </a:p>
          <a:p>
            <a:pPr marL="342900" indent="-342900">
              <a:buFont typeface="Arial" panose="020B0604020202020204" pitchFamily="34" charset="0"/>
              <a:buChar char="•"/>
            </a:pPr>
            <a:r>
              <a:rPr lang="en-US" sz="3200" dirty="0">
                <a:solidFill>
                  <a:schemeClr val="tx2"/>
                </a:solidFill>
                <a:latin typeface="+mj-lt"/>
              </a:rPr>
              <a:t>Binnen- </a:t>
            </a:r>
            <a:r>
              <a:rPr lang="en-US" sz="3200" dirty="0" err="1">
                <a:solidFill>
                  <a:schemeClr val="tx2"/>
                </a:solidFill>
                <a:latin typeface="+mj-lt"/>
              </a:rPr>
              <a:t>en</a:t>
            </a:r>
            <a:r>
              <a:rPr lang="en-US" sz="3200" dirty="0">
                <a:solidFill>
                  <a:schemeClr val="tx2"/>
                </a:solidFill>
                <a:latin typeface="+mj-lt"/>
              </a:rPr>
              <a:t> </a:t>
            </a:r>
            <a:r>
              <a:rPr lang="en-US" sz="3200" dirty="0" err="1">
                <a:solidFill>
                  <a:schemeClr val="tx2"/>
                </a:solidFill>
                <a:latin typeface="+mj-lt"/>
              </a:rPr>
              <a:t>buitenriolering</a:t>
            </a:r>
            <a:r>
              <a:rPr lang="en-US" sz="3200" dirty="0">
                <a:solidFill>
                  <a:schemeClr val="tx2"/>
                </a:solidFill>
                <a:latin typeface="+mj-lt"/>
              </a:rPr>
              <a:t>	</a:t>
            </a:r>
          </a:p>
          <a:p>
            <a:pPr marL="342900" indent="-342900">
              <a:buFont typeface="Arial" panose="020B0604020202020204" pitchFamily="34" charset="0"/>
              <a:buChar char="•"/>
            </a:pPr>
            <a:endParaRPr lang="en-US" sz="3200" dirty="0">
              <a:solidFill>
                <a:schemeClr val="tx2"/>
              </a:solidFill>
              <a:latin typeface="+mj-lt"/>
            </a:endParaRPr>
          </a:p>
          <a:p>
            <a:pPr marL="342900" indent="-342900">
              <a:buFont typeface="Arial" panose="020B0604020202020204" pitchFamily="34" charset="0"/>
              <a:buChar char="•"/>
            </a:pPr>
            <a:r>
              <a:rPr lang="en-US" sz="3200" b="1" dirty="0" err="1">
                <a:solidFill>
                  <a:schemeClr val="tx2"/>
                </a:solidFill>
                <a:latin typeface="+mj-lt"/>
              </a:rPr>
              <a:t>Agricultuur</a:t>
            </a:r>
            <a:endParaRPr lang="en-US" sz="3200" b="1" dirty="0">
              <a:solidFill>
                <a:schemeClr val="tx2"/>
              </a:solidFill>
              <a:latin typeface="+mj-lt"/>
            </a:endParaRPr>
          </a:p>
          <a:p>
            <a:pPr marL="285750" indent="-285750">
              <a:buFont typeface="Arial" panose="020B0604020202020204" pitchFamily="34" charset="0"/>
              <a:buChar char="•"/>
            </a:pPr>
            <a:endParaRPr lang="en-US" sz="2400" dirty="0">
              <a:solidFill>
                <a:schemeClr val="tx2"/>
              </a:solidFill>
              <a:latin typeface="+mj-lt"/>
            </a:endParaRPr>
          </a:p>
        </p:txBody>
      </p:sp>
      <p:sp>
        <p:nvSpPr>
          <p:cNvPr id="3" name="Rectangle 7">
            <a:extLst>
              <a:ext uri="{FF2B5EF4-FFF2-40B4-BE49-F238E27FC236}">
                <a16:creationId xmlns:a16="http://schemas.microsoft.com/office/drawing/2014/main" id="{E376ADA0-A419-422B-9511-0CEFC82C2E8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nl-NL" altLang="nl-NL" sz="1800" b="0" i="0" u="none" strike="noStrike" cap="none" normalizeH="0" baseline="0">
                <a:ln>
                  <a:noFill/>
                </a:ln>
                <a:solidFill>
                  <a:schemeClr val="tx1"/>
                </a:solidFill>
                <a:effectLst/>
                <a:latin typeface="Arial" panose="020B0604020202020204" pitchFamily="34" charset="0"/>
              </a:rPr>
            </a:br>
            <a:endParaRPr kumimoji="0" lang="nl-NL" altLang="nl-NL" sz="1800" b="0" i="0" u="none" strike="noStrike" cap="none" normalizeH="0" baseline="0">
              <a:ln>
                <a:noFill/>
              </a:ln>
              <a:solidFill>
                <a:schemeClr val="tx1"/>
              </a:solidFill>
              <a:effectLst/>
              <a:latin typeface="Arial" panose="020B0604020202020204" pitchFamily="34" charset="0"/>
            </a:endParaRPr>
          </a:p>
        </p:txBody>
      </p:sp>
      <p:pic>
        <p:nvPicPr>
          <p:cNvPr id="1029" name="Picture 5" descr="Potable Water">
            <a:extLst>
              <a:ext uri="{FF2B5EF4-FFF2-40B4-BE49-F238E27FC236}">
                <a16:creationId xmlns:a16="http://schemas.microsoft.com/office/drawing/2014/main" id="{992384BB-B4B6-430E-AA93-7DE19887CBB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2672" y="1154110"/>
            <a:ext cx="2001013" cy="125063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as">
            <a:extLst>
              <a:ext uri="{FF2B5EF4-FFF2-40B4-BE49-F238E27FC236}">
                <a16:creationId xmlns:a16="http://schemas.microsoft.com/office/drawing/2014/main" id="{F3626B89-1D3C-4653-9978-49BE44554D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82693" y="2192840"/>
            <a:ext cx="2001014" cy="1250634"/>
          </a:xfrm>
          <a:prstGeom prst="rect">
            <a:avLst/>
          </a:prstGeom>
          <a:noFill/>
          <a:extLst>
            <a:ext uri="{909E8E84-426E-40DD-AFC4-6F175D3DCCD1}">
              <a14:hiddenFill xmlns:a14="http://schemas.microsoft.com/office/drawing/2010/main">
                <a:solidFill>
                  <a:srgbClr val="FFFFFF"/>
                </a:solidFill>
              </a14:hiddenFill>
            </a:ext>
          </a:extLst>
        </p:spPr>
      </p:pic>
      <p:pic>
        <p:nvPicPr>
          <p:cNvPr id="3073" name="Picture 1" descr="Electro">
            <a:extLst>
              <a:ext uri="{FF2B5EF4-FFF2-40B4-BE49-F238E27FC236}">
                <a16:creationId xmlns:a16="http://schemas.microsoft.com/office/drawing/2014/main" id="{941FDEE8-0F2F-443F-9FDA-EBB1E174823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82682" y="3291029"/>
            <a:ext cx="2001014" cy="1250634"/>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Sewage">
            <a:extLst>
              <a:ext uri="{FF2B5EF4-FFF2-40B4-BE49-F238E27FC236}">
                <a16:creationId xmlns:a16="http://schemas.microsoft.com/office/drawing/2014/main" id="{FB8A4268-1AF6-47A7-991D-63D4E0DFDC3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82682" y="4389217"/>
            <a:ext cx="2001003" cy="1250627"/>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rainage">
            <a:extLst>
              <a:ext uri="{FF2B5EF4-FFF2-40B4-BE49-F238E27FC236}">
                <a16:creationId xmlns:a16="http://schemas.microsoft.com/office/drawing/2014/main" id="{D5EBA3C8-817E-4AD2-AC29-2807C5FF918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82682" y="5445108"/>
            <a:ext cx="2001003" cy="1250627"/>
          </a:xfrm>
          <a:prstGeom prst="rect">
            <a:avLst/>
          </a:prstGeom>
          <a:noFill/>
          <a:extLst>
            <a:ext uri="{909E8E84-426E-40DD-AFC4-6F175D3DCCD1}">
              <a14:hiddenFill xmlns:a14="http://schemas.microsoft.com/office/drawing/2010/main">
                <a:solidFill>
                  <a:srgbClr val="FFFFFF"/>
                </a:solidFill>
              </a14:hiddenFill>
            </a:ext>
          </a:extLst>
        </p:spPr>
      </p:pic>
      <p:pic>
        <p:nvPicPr>
          <p:cNvPr id="11" name="Afbeelding 10" descr="Afbeelding met tekst, illustratie&#10;&#10;Automatisch gegenereerde beschrijving">
            <a:extLst>
              <a:ext uri="{FF2B5EF4-FFF2-40B4-BE49-F238E27FC236}">
                <a16:creationId xmlns:a16="http://schemas.microsoft.com/office/drawing/2014/main" id="{5409F18E-577A-4707-B9C4-C01A6D547673}"/>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599439" y="360479"/>
            <a:ext cx="3841428" cy="679933"/>
          </a:xfrm>
          <a:prstGeom prst="rect">
            <a:avLst/>
          </a:prstGeom>
        </p:spPr>
      </p:pic>
    </p:spTree>
    <p:extLst>
      <p:ext uri="{BB962C8B-B14F-4D97-AF65-F5344CB8AC3E}">
        <p14:creationId xmlns:p14="http://schemas.microsoft.com/office/powerpoint/2010/main" val="3210541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5A1FAB3-236F-EA41-A5E4-D599539F338C}"/>
              </a:ext>
            </a:extLst>
          </p:cNvPr>
          <p:cNvPicPr>
            <a:picLocks noChangeAspect="1"/>
          </p:cNvPicPr>
          <p:nvPr/>
        </p:nvPicPr>
        <p:blipFill>
          <a:blip r:embed="rId2"/>
          <a:srcRect t="6649" b="6649"/>
          <a:stretch/>
        </p:blipFill>
        <p:spPr>
          <a:xfrm>
            <a:off x="0" y="0"/>
            <a:ext cx="12192000" cy="6858000"/>
          </a:xfrm>
          <a:prstGeom prst="rect">
            <a:avLst/>
          </a:prstGeom>
        </p:spPr>
      </p:pic>
      <p:sp>
        <p:nvSpPr>
          <p:cNvPr id="6" name="TextBox 5">
            <a:extLst>
              <a:ext uri="{FF2B5EF4-FFF2-40B4-BE49-F238E27FC236}">
                <a16:creationId xmlns:a16="http://schemas.microsoft.com/office/drawing/2014/main" id="{993CF0D5-3CBA-BB49-A97D-181C21BCA108}"/>
              </a:ext>
            </a:extLst>
          </p:cNvPr>
          <p:cNvSpPr txBox="1"/>
          <p:nvPr/>
        </p:nvSpPr>
        <p:spPr>
          <a:xfrm>
            <a:off x="7077737" y="3733800"/>
            <a:ext cx="5104836" cy="2862322"/>
          </a:xfrm>
          <a:prstGeom prst="rect">
            <a:avLst/>
          </a:prstGeom>
          <a:noFill/>
        </p:spPr>
        <p:txBody>
          <a:bodyPr wrap="square"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en-GB" sz="3600" b="1" dirty="0">
                <a:solidFill>
                  <a:schemeClr val="bg1"/>
                </a:solidFill>
                <a:latin typeface="Open Sans" panose="020B0606030504020204" pitchFamily="34" charset="0"/>
              </a:rPr>
              <a:t>PIPELIFE VERBINDT MENSEN </a:t>
            </a:r>
          </a:p>
          <a:p>
            <a:pPr algn="r"/>
            <a:r>
              <a:rPr lang="en-GB" sz="3600" b="1" dirty="0">
                <a:solidFill>
                  <a:schemeClr val="bg1"/>
                </a:solidFill>
                <a:latin typeface="Open Sans" panose="020B0606030504020204" pitchFamily="34" charset="0"/>
              </a:rPr>
              <a:t>MET WATER EN ENERGIE EN </a:t>
            </a:r>
            <a:br>
              <a:rPr lang="en-GB" sz="3600" b="1" dirty="0">
                <a:solidFill>
                  <a:schemeClr val="bg1"/>
                </a:solidFill>
                <a:latin typeface="Open Sans" panose="020B0606030504020204" pitchFamily="34" charset="0"/>
              </a:rPr>
            </a:br>
            <a:r>
              <a:rPr lang="en-GB" sz="3600" b="1" dirty="0">
                <a:solidFill>
                  <a:schemeClr val="bg1"/>
                </a:solidFill>
                <a:latin typeface="Open Sans" panose="020B0606030504020204" pitchFamily="34" charset="0"/>
              </a:rPr>
              <a:t>DATA. </a:t>
            </a:r>
            <a:endParaRPr lang="en-GB" sz="3600" dirty="0">
              <a:solidFill>
                <a:schemeClr val="bg1"/>
              </a:solidFill>
              <a:latin typeface="Open Sans" panose="020B0606030504020204" pitchFamily="34" charset="0"/>
            </a:endParaRPr>
          </a:p>
        </p:txBody>
      </p:sp>
    </p:spTree>
    <p:extLst>
      <p:ext uri="{BB962C8B-B14F-4D97-AF65-F5344CB8AC3E}">
        <p14:creationId xmlns:p14="http://schemas.microsoft.com/office/powerpoint/2010/main" val="2939415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7BE56-DDFD-47F6-BA60-443DF2F62D50}"/>
              </a:ext>
            </a:extLst>
          </p:cNvPr>
          <p:cNvSpPr>
            <a:spLocks noGrp="1"/>
          </p:cNvSpPr>
          <p:nvPr>
            <p:ph type="title"/>
          </p:nvPr>
        </p:nvSpPr>
        <p:spPr>
          <a:xfrm>
            <a:off x="801098" y="1396289"/>
            <a:ext cx="5277333" cy="1325563"/>
          </a:xfrm>
        </p:spPr>
        <p:txBody>
          <a:bodyPr vert="horz" lIns="91440" tIns="45720" rIns="91440" bIns="45720" rtlCol="0" anchor="ctr">
            <a:normAutofit/>
          </a:bodyPr>
          <a:lstStyle/>
          <a:p>
            <a:pPr algn="l" defTabSz="914400">
              <a:lnSpc>
                <a:spcPct val="90000"/>
              </a:lnSpc>
              <a:spcBef>
                <a:spcPct val="0"/>
              </a:spcBef>
            </a:pPr>
            <a:r>
              <a:rPr lang="en-US" sz="5400" dirty="0" err="1">
                <a:solidFill>
                  <a:schemeClr val="tx1"/>
                </a:solidFill>
              </a:rPr>
              <a:t>Onderzoek</a:t>
            </a:r>
            <a:endParaRPr lang="en-US" sz="5400" dirty="0">
              <a:solidFill>
                <a:schemeClr val="tx1"/>
              </a:solidFill>
            </a:endParaRPr>
          </a:p>
        </p:txBody>
      </p:sp>
      <p:sp>
        <p:nvSpPr>
          <p:cNvPr id="3" name="Rechthoek 2">
            <a:extLst>
              <a:ext uri="{FF2B5EF4-FFF2-40B4-BE49-F238E27FC236}">
                <a16:creationId xmlns:a16="http://schemas.microsoft.com/office/drawing/2014/main" id="{66CA8A36-8AB0-46B2-A0A7-E17BB3811F34}"/>
              </a:ext>
            </a:extLst>
          </p:cNvPr>
          <p:cNvSpPr/>
          <p:nvPr/>
        </p:nvSpPr>
        <p:spPr>
          <a:xfrm>
            <a:off x="805543" y="2871982"/>
            <a:ext cx="4558309" cy="3181684"/>
          </a:xfrm>
          <a:prstGeom prst="rect">
            <a:avLst/>
          </a:prstGeom>
        </p:spPr>
        <p:txBody>
          <a:bodyPr vert="horz" lIns="91440" tIns="45720" rIns="91440" bIns="45720" rtlCol="0" anchor="t">
            <a:normAutofit/>
          </a:bodyPr>
          <a:lstStyle/>
          <a:p>
            <a:pPr defTabSz="914400">
              <a:lnSpc>
                <a:spcPct val="90000"/>
              </a:lnSpc>
              <a:spcAft>
                <a:spcPts val="600"/>
              </a:spcAft>
            </a:pPr>
            <a:endParaRPr lang="en-US" dirty="0">
              <a:latin typeface="Arial" panose="020B0604020202020204" pitchFamily="34" charset="0"/>
              <a:cs typeface="Arial" panose="020B0604020202020204" pitchFamily="34" charset="0"/>
            </a:endParaRPr>
          </a:p>
        </p:txBody>
      </p:sp>
      <p:sp>
        <p:nvSpPr>
          <p:cNvPr id="31" name="Oval 1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12">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16">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6" descr="Gas">
            <a:extLst>
              <a:ext uri="{FF2B5EF4-FFF2-40B4-BE49-F238E27FC236}">
                <a16:creationId xmlns:a16="http://schemas.microsoft.com/office/drawing/2014/main" id="{608D4FC2-F319-4974-82C5-9C43D63BA67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850774" y="527543"/>
            <a:ext cx="3028386" cy="1892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otable Water">
            <a:extLst>
              <a:ext uri="{FF2B5EF4-FFF2-40B4-BE49-F238E27FC236}">
                <a16:creationId xmlns:a16="http://schemas.microsoft.com/office/drawing/2014/main" id="{569AD722-0645-4265-A723-C6C2962926A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369366" y="3712295"/>
            <a:ext cx="1741359" cy="1088349"/>
          </a:xfrm>
          <a:prstGeom prst="rect">
            <a:avLst/>
          </a:prstGeom>
          <a:noFill/>
          <a:extLst>
            <a:ext uri="{909E8E84-426E-40DD-AFC4-6F175D3DCCD1}">
              <a14:hiddenFill xmlns:a14="http://schemas.microsoft.com/office/drawing/2010/main">
                <a:solidFill>
                  <a:srgbClr val="FFFFFF"/>
                </a:solidFill>
              </a14:hiddenFill>
            </a:ext>
          </a:extLst>
        </p:spPr>
      </p:pic>
      <p:sp>
        <p:nvSpPr>
          <p:cNvPr id="35" name="Freeform: Shape 18">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20">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Sewage">
            <a:extLst>
              <a:ext uri="{FF2B5EF4-FFF2-40B4-BE49-F238E27FC236}">
                <a16:creationId xmlns:a16="http://schemas.microsoft.com/office/drawing/2014/main" id="{9E1DFB5A-7EBD-4BDE-8CFC-28E8E74537C2}"/>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9582150" y="5017966"/>
            <a:ext cx="2407535" cy="1504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062417"/>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Shape 163"/>
        <p:cNvGrpSpPr/>
        <p:nvPr/>
      </p:nvGrpSpPr>
      <p:grpSpPr>
        <a:xfrm>
          <a:off x="0" y="0"/>
          <a:ext cx="0" cy="0"/>
          <a:chOff x="0" y="0"/>
          <a:chExt cx="0" cy="0"/>
        </a:xfrm>
      </p:grpSpPr>
      <p:sp>
        <p:nvSpPr>
          <p:cNvPr id="164" name="Google Shape;164;p29"/>
          <p:cNvSpPr txBox="1">
            <a:spLocks noGrp="1"/>
          </p:cNvSpPr>
          <p:nvPr>
            <p:ph type="title"/>
          </p:nvPr>
        </p:nvSpPr>
        <p:spPr>
          <a:xfrm>
            <a:off x="2734833" y="0"/>
            <a:ext cx="9250800" cy="1706000"/>
          </a:xfrm>
          <a:prstGeom prst="rect">
            <a:avLst/>
          </a:prstGeom>
          <a:noFill/>
          <a:ln>
            <a:noFill/>
          </a:ln>
        </p:spPr>
        <p:txBody>
          <a:bodyPr spcFirstLastPara="1" wrap="square" lIns="121900" tIns="121900" rIns="121900" bIns="121900" anchor="ctr" anchorCtr="0">
            <a:noAutofit/>
          </a:bodyPr>
          <a:lstStyle/>
          <a:p>
            <a:pPr>
              <a:spcBef>
                <a:spcPts val="0"/>
              </a:spcBef>
            </a:pPr>
            <a:r>
              <a:rPr lang="nl" sz="5400" b="1" dirty="0">
                <a:solidFill>
                  <a:schemeClr val="tx2"/>
                </a:solidFill>
                <a:ea typeface="Poppins"/>
                <a:cs typeface="Poppins"/>
                <a:sym typeface="Poppins"/>
              </a:rPr>
              <a:t>Mega Trends.</a:t>
            </a:r>
            <a:endParaRPr sz="5400" b="1" dirty="0">
              <a:solidFill>
                <a:schemeClr val="tx2"/>
              </a:solidFill>
              <a:ea typeface="Poppins"/>
              <a:cs typeface="Poppins"/>
              <a:sym typeface="Poppins"/>
            </a:endParaRPr>
          </a:p>
        </p:txBody>
      </p:sp>
      <p:sp>
        <p:nvSpPr>
          <p:cNvPr id="165" name="Google Shape;165;p29"/>
          <p:cNvSpPr txBox="1"/>
          <p:nvPr/>
        </p:nvSpPr>
        <p:spPr>
          <a:xfrm>
            <a:off x="2734830" y="1455901"/>
            <a:ext cx="7463200" cy="4381200"/>
          </a:xfrm>
          <a:prstGeom prst="rect">
            <a:avLst/>
          </a:prstGeom>
          <a:noFill/>
          <a:ln>
            <a:noFill/>
          </a:ln>
        </p:spPr>
        <p:txBody>
          <a:bodyPr spcFirstLastPara="1" wrap="square" lIns="121900" tIns="121900" rIns="121900" bIns="121900" anchor="t" anchorCtr="0">
            <a:noAutofit/>
          </a:bodyPr>
          <a:lstStyle/>
          <a:p>
            <a:pPr marL="93131">
              <a:lnSpc>
                <a:spcPct val="115000"/>
              </a:lnSpc>
              <a:buClr>
                <a:schemeClr val="dk2"/>
              </a:buClr>
              <a:buSzPts val="2500"/>
            </a:pPr>
            <a:r>
              <a:rPr lang="nl" sz="2800" dirty="0">
                <a:solidFill>
                  <a:schemeClr val="tx2"/>
                </a:solidFill>
                <a:latin typeface="+mj-lt"/>
                <a:ea typeface="Poppins"/>
                <a:cs typeface="Poppins"/>
                <a:sym typeface="Poppins"/>
              </a:rPr>
              <a:t>Mens &amp; Maatschappij</a:t>
            </a:r>
            <a:endParaRPr sz="2800" dirty="0">
              <a:solidFill>
                <a:schemeClr val="tx2"/>
              </a:solidFill>
              <a:latin typeface="+mj-lt"/>
              <a:ea typeface="Poppins"/>
              <a:cs typeface="Poppins"/>
              <a:sym typeface="Poppins"/>
            </a:endParaRPr>
          </a:p>
          <a:p>
            <a:pPr marL="609585">
              <a:lnSpc>
                <a:spcPct val="115000"/>
              </a:lnSpc>
            </a:pPr>
            <a:r>
              <a:rPr lang="nl" sz="1200" dirty="0">
                <a:solidFill>
                  <a:schemeClr val="tx2"/>
                </a:solidFill>
                <a:latin typeface="+mj-lt"/>
                <a:ea typeface="Poppins"/>
                <a:cs typeface="Poppins"/>
                <a:sym typeface="Poppins"/>
              </a:rPr>
              <a:t>Waterverbruik, water misbruik, bewustzijn en educatie. </a:t>
            </a:r>
            <a:endParaRPr sz="1200" dirty="0">
              <a:solidFill>
                <a:schemeClr val="tx2"/>
              </a:solidFill>
              <a:latin typeface="+mj-lt"/>
              <a:ea typeface="Poppins"/>
              <a:cs typeface="Poppins"/>
              <a:sym typeface="Poppins"/>
            </a:endParaRPr>
          </a:p>
          <a:p>
            <a:pPr marL="93131">
              <a:lnSpc>
                <a:spcPct val="115000"/>
              </a:lnSpc>
              <a:buClr>
                <a:schemeClr val="dk2"/>
              </a:buClr>
              <a:buSzPts val="2500"/>
            </a:pPr>
            <a:r>
              <a:rPr lang="nl" sz="2800" dirty="0">
                <a:solidFill>
                  <a:schemeClr val="tx2"/>
                </a:solidFill>
                <a:latin typeface="+mj-lt"/>
                <a:ea typeface="Poppins"/>
                <a:cs typeface="Poppins"/>
                <a:sym typeface="Poppins"/>
              </a:rPr>
              <a:t>Gezondheid &amp; Zorg </a:t>
            </a:r>
            <a:endParaRPr sz="2800" dirty="0">
              <a:solidFill>
                <a:schemeClr val="tx2"/>
              </a:solidFill>
              <a:latin typeface="+mj-lt"/>
              <a:ea typeface="Poppins"/>
              <a:cs typeface="Poppins"/>
              <a:sym typeface="Poppins"/>
            </a:endParaRPr>
          </a:p>
          <a:p>
            <a:pPr marL="609585">
              <a:lnSpc>
                <a:spcPct val="115000"/>
              </a:lnSpc>
            </a:pPr>
            <a:r>
              <a:rPr lang="nl" sz="1200" dirty="0">
                <a:solidFill>
                  <a:schemeClr val="tx2"/>
                </a:solidFill>
                <a:latin typeface="+mj-lt"/>
                <a:ea typeface="Poppins"/>
                <a:cs typeface="Poppins"/>
                <a:sym typeface="Poppins"/>
              </a:rPr>
              <a:t>Corona, vervuiling, klimaatschade.</a:t>
            </a:r>
            <a:endParaRPr sz="1200" dirty="0">
              <a:solidFill>
                <a:schemeClr val="tx2"/>
              </a:solidFill>
              <a:latin typeface="+mj-lt"/>
              <a:ea typeface="Poppins"/>
              <a:cs typeface="Poppins"/>
              <a:sym typeface="Poppins"/>
            </a:endParaRPr>
          </a:p>
          <a:p>
            <a:pPr marL="93131">
              <a:lnSpc>
                <a:spcPct val="115000"/>
              </a:lnSpc>
              <a:buClr>
                <a:schemeClr val="dk2"/>
              </a:buClr>
              <a:buSzPts val="2500"/>
            </a:pPr>
            <a:r>
              <a:rPr lang="nl" sz="2800" dirty="0">
                <a:solidFill>
                  <a:schemeClr val="tx2"/>
                </a:solidFill>
                <a:latin typeface="+mj-lt"/>
                <a:ea typeface="Poppins"/>
                <a:cs typeface="Poppins"/>
                <a:sym typeface="Poppins"/>
              </a:rPr>
              <a:t>Milieu &amp; Bronnen</a:t>
            </a:r>
            <a:endParaRPr sz="2800" dirty="0">
              <a:solidFill>
                <a:schemeClr val="tx2"/>
              </a:solidFill>
              <a:latin typeface="+mj-lt"/>
              <a:ea typeface="Poppins"/>
              <a:cs typeface="Poppins"/>
              <a:sym typeface="Poppins"/>
            </a:endParaRPr>
          </a:p>
          <a:p>
            <a:pPr marL="609585">
              <a:lnSpc>
                <a:spcPct val="115000"/>
              </a:lnSpc>
            </a:pPr>
            <a:r>
              <a:rPr lang="nl" sz="1200" dirty="0">
                <a:solidFill>
                  <a:schemeClr val="tx2"/>
                </a:solidFill>
                <a:latin typeface="+mj-lt"/>
                <a:ea typeface="Poppins"/>
                <a:cs typeface="Poppins"/>
                <a:sym typeface="Poppins"/>
              </a:rPr>
              <a:t>Klimaatverandering, duurzaamheid, circulariteit. </a:t>
            </a:r>
            <a:endParaRPr sz="1200" dirty="0">
              <a:solidFill>
                <a:schemeClr val="tx2"/>
              </a:solidFill>
              <a:latin typeface="+mj-lt"/>
              <a:ea typeface="Poppins"/>
              <a:cs typeface="Poppins"/>
              <a:sym typeface="Poppins"/>
            </a:endParaRPr>
          </a:p>
          <a:p>
            <a:pPr marL="93131">
              <a:lnSpc>
                <a:spcPct val="115000"/>
              </a:lnSpc>
              <a:buClr>
                <a:schemeClr val="dk2"/>
              </a:buClr>
              <a:buSzPts val="2500"/>
            </a:pPr>
            <a:r>
              <a:rPr lang="nl" sz="2800" dirty="0">
                <a:solidFill>
                  <a:schemeClr val="tx2"/>
                </a:solidFill>
                <a:latin typeface="+mj-lt"/>
                <a:ea typeface="Poppins"/>
                <a:cs typeface="Poppins"/>
                <a:sym typeface="Poppins"/>
              </a:rPr>
              <a:t>Economie &amp; Business</a:t>
            </a:r>
            <a:endParaRPr sz="2800" dirty="0">
              <a:solidFill>
                <a:schemeClr val="tx2"/>
              </a:solidFill>
              <a:latin typeface="+mj-lt"/>
              <a:ea typeface="Poppins"/>
              <a:cs typeface="Poppins"/>
              <a:sym typeface="Poppins"/>
            </a:endParaRPr>
          </a:p>
          <a:p>
            <a:pPr marL="609585">
              <a:lnSpc>
                <a:spcPct val="115000"/>
              </a:lnSpc>
            </a:pPr>
            <a:r>
              <a:rPr lang="nl" sz="1200" dirty="0">
                <a:solidFill>
                  <a:schemeClr val="tx2"/>
                </a:solidFill>
                <a:latin typeface="+mj-lt"/>
                <a:ea typeface="Poppins"/>
                <a:cs typeface="Poppins"/>
                <a:sym typeface="Poppins"/>
              </a:rPr>
              <a:t>Druk op waterprijs, nieuwe businessmodellen, privatisering sector. </a:t>
            </a:r>
            <a:endParaRPr sz="1200" dirty="0">
              <a:solidFill>
                <a:schemeClr val="tx2"/>
              </a:solidFill>
              <a:latin typeface="+mj-lt"/>
              <a:ea typeface="Poppins"/>
              <a:cs typeface="Poppins"/>
              <a:sym typeface="Poppins"/>
            </a:endParaRPr>
          </a:p>
          <a:p>
            <a:pPr marL="93131">
              <a:lnSpc>
                <a:spcPct val="115000"/>
              </a:lnSpc>
              <a:buClr>
                <a:schemeClr val="dk2"/>
              </a:buClr>
              <a:buSzPts val="2500"/>
            </a:pPr>
            <a:r>
              <a:rPr lang="nl" sz="2800" dirty="0">
                <a:solidFill>
                  <a:schemeClr val="tx2"/>
                </a:solidFill>
                <a:latin typeface="+mj-lt"/>
                <a:ea typeface="Poppins"/>
                <a:cs typeface="Poppins"/>
                <a:sym typeface="Poppins"/>
              </a:rPr>
              <a:t>Technologie &amp; Innovatie</a:t>
            </a:r>
            <a:endParaRPr sz="2800" dirty="0">
              <a:solidFill>
                <a:schemeClr val="tx2"/>
              </a:solidFill>
              <a:latin typeface="+mj-lt"/>
              <a:ea typeface="Poppins"/>
              <a:cs typeface="Poppins"/>
              <a:sym typeface="Poppins"/>
            </a:endParaRPr>
          </a:p>
          <a:p>
            <a:pPr marL="609585">
              <a:lnSpc>
                <a:spcPct val="115000"/>
              </a:lnSpc>
            </a:pPr>
            <a:r>
              <a:rPr lang="nl" sz="1200" dirty="0">
                <a:solidFill>
                  <a:schemeClr val="tx2"/>
                </a:solidFill>
                <a:latin typeface="+mj-lt"/>
                <a:ea typeface="Poppins"/>
                <a:cs typeface="Poppins"/>
                <a:sym typeface="Poppins"/>
              </a:rPr>
              <a:t>Slimme technologie, automatisering en digitalisering.</a:t>
            </a:r>
            <a:endParaRPr sz="1200" dirty="0">
              <a:solidFill>
                <a:schemeClr val="tx2"/>
              </a:solidFill>
              <a:latin typeface="+mj-lt"/>
              <a:ea typeface="Poppins"/>
              <a:cs typeface="Poppins"/>
              <a:sym typeface="Poppins"/>
            </a:endParaRPr>
          </a:p>
          <a:p>
            <a:pPr marL="93131">
              <a:lnSpc>
                <a:spcPct val="115000"/>
              </a:lnSpc>
              <a:buClr>
                <a:schemeClr val="dk2"/>
              </a:buClr>
              <a:buSzPts val="2500"/>
            </a:pPr>
            <a:r>
              <a:rPr lang="nl" sz="2800" dirty="0">
                <a:solidFill>
                  <a:schemeClr val="tx2"/>
                </a:solidFill>
                <a:latin typeface="+mj-lt"/>
                <a:ea typeface="Poppins"/>
                <a:cs typeface="Poppins"/>
                <a:sym typeface="Poppins"/>
              </a:rPr>
              <a:t>Politiek &amp; Bestuur </a:t>
            </a:r>
            <a:endParaRPr sz="2800" dirty="0">
              <a:solidFill>
                <a:schemeClr val="tx2"/>
              </a:solidFill>
              <a:latin typeface="+mj-lt"/>
              <a:ea typeface="Poppins"/>
              <a:cs typeface="Poppins"/>
              <a:sym typeface="Poppins"/>
            </a:endParaRPr>
          </a:p>
          <a:p>
            <a:pPr marL="609585">
              <a:lnSpc>
                <a:spcPct val="115000"/>
              </a:lnSpc>
            </a:pPr>
            <a:r>
              <a:rPr lang="nl" sz="1200" dirty="0">
                <a:solidFill>
                  <a:schemeClr val="tx2"/>
                </a:solidFill>
                <a:latin typeface="+mj-lt"/>
                <a:ea typeface="Poppins"/>
                <a:cs typeface="Poppins"/>
                <a:sym typeface="Poppins"/>
              </a:rPr>
              <a:t>Europese regelgeving over materiaalgebruik, waterkwaliteit en beschikbaarheid.</a:t>
            </a:r>
            <a:endParaRPr sz="1200" dirty="0">
              <a:solidFill>
                <a:schemeClr val="tx2"/>
              </a:solidFill>
              <a:latin typeface="+mj-lt"/>
              <a:ea typeface="Poppins"/>
              <a:cs typeface="Poppins"/>
              <a:sym typeface="Poppins"/>
            </a:endParaRPr>
          </a:p>
        </p:txBody>
      </p:sp>
      <p:pic>
        <p:nvPicPr>
          <p:cNvPr id="166" name="Google Shape;166;p29"/>
          <p:cNvPicPr preferRelativeResize="0"/>
          <p:nvPr/>
        </p:nvPicPr>
        <p:blipFill>
          <a:blip r:embed="rId3">
            <a:alphaModFix/>
          </a:blip>
          <a:stretch>
            <a:fillRect/>
          </a:stretch>
        </p:blipFill>
        <p:spPr>
          <a:xfrm>
            <a:off x="0" y="1"/>
            <a:ext cx="2734835" cy="829567"/>
          </a:xfrm>
          <a:prstGeom prst="rect">
            <a:avLst/>
          </a:prstGeom>
          <a:noFill/>
          <a:ln>
            <a:noFill/>
          </a:ln>
        </p:spPr>
      </p:pic>
      <p:sp>
        <p:nvSpPr>
          <p:cNvPr id="167" name="Google Shape;167;p29"/>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Autofit/>
          </a:bodyPr>
          <a:lstStyle/>
          <a:p>
            <a:pPr algn="r"/>
            <a:fld id="{00000000-1234-1234-1234-123412341234}" type="slidenum">
              <a:rPr lang="nl" sz="1600">
                <a:solidFill>
                  <a:schemeClr val="tx2"/>
                </a:solidFill>
                <a:latin typeface="+mj-lt"/>
              </a:rPr>
              <a:pPr algn="r"/>
              <a:t>9</a:t>
            </a:fld>
            <a:endParaRPr sz="1600" dirty="0">
              <a:solidFill>
                <a:schemeClr val="tx2"/>
              </a:solidFill>
              <a:latin typeface="+mj-lt"/>
            </a:endParaRPr>
          </a:p>
        </p:txBody>
      </p:sp>
      <p:pic>
        <p:nvPicPr>
          <p:cNvPr id="168" name="Google Shape;168;p29"/>
          <p:cNvPicPr preferRelativeResize="0"/>
          <p:nvPr/>
        </p:nvPicPr>
        <p:blipFill rotWithShape="1">
          <a:blip r:embed="rId4">
            <a:alphaModFix/>
          </a:blip>
          <a:srcRect l="10107" t="15850" r="77983" b="68277"/>
          <a:stretch/>
        </p:blipFill>
        <p:spPr>
          <a:xfrm>
            <a:off x="383867" y="1389067"/>
            <a:ext cx="1369435" cy="1024032"/>
          </a:xfrm>
          <a:prstGeom prst="rect">
            <a:avLst/>
          </a:prstGeom>
          <a:noFill/>
          <a:ln>
            <a:noFill/>
          </a:ln>
        </p:spPr>
      </p:pic>
      <p:pic>
        <p:nvPicPr>
          <p:cNvPr id="169" name="Google Shape;169;p29"/>
          <p:cNvPicPr preferRelativeResize="0"/>
          <p:nvPr/>
        </p:nvPicPr>
        <p:blipFill rotWithShape="1">
          <a:blip r:embed="rId4">
            <a:alphaModFix/>
          </a:blip>
          <a:srcRect l="43962" t="16507" r="44128" b="68809"/>
          <a:stretch/>
        </p:blipFill>
        <p:spPr>
          <a:xfrm>
            <a:off x="10299067" y="1427468"/>
            <a:ext cx="1369435" cy="947233"/>
          </a:xfrm>
          <a:prstGeom prst="rect">
            <a:avLst/>
          </a:prstGeom>
          <a:noFill/>
          <a:ln>
            <a:noFill/>
          </a:ln>
        </p:spPr>
      </p:pic>
      <p:pic>
        <p:nvPicPr>
          <p:cNvPr id="170" name="Google Shape;170;p29"/>
          <p:cNvPicPr preferRelativeResize="0"/>
          <p:nvPr/>
        </p:nvPicPr>
        <p:blipFill rotWithShape="1">
          <a:blip r:embed="rId4">
            <a:alphaModFix/>
          </a:blip>
          <a:srcRect l="77816" t="15322" r="9500" b="66639"/>
          <a:stretch/>
        </p:blipFill>
        <p:spPr>
          <a:xfrm>
            <a:off x="294799" y="2918718"/>
            <a:ext cx="1458500" cy="1163700"/>
          </a:xfrm>
          <a:prstGeom prst="rect">
            <a:avLst/>
          </a:prstGeom>
          <a:noFill/>
          <a:ln>
            <a:noFill/>
          </a:ln>
        </p:spPr>
      </p:pic>
      <p:pic>
        <p:nvPicPr>
          <p:cNvPr id="171" name="Google Shape;171;p29"/>
          <p:cNvPicPr preferRelativeResize="0"/>
          <p:nvPr/>
        </p:nvPicPr>
        <p:blipFill rotWithShape="1">
          <a:blip r:embed="rId4">
            <a:alphaModFix/>
          </a:blip>
          <a:srcRect l="10338" t="55701" r="77752" b="23616"/>
          <a:stretch/>
        </p:blipFill>
        <p:spPr>
          <a:xfrm>
            <a:off x="339333" y="4588067"/>
            <a:ext cx="1369435" cy="1334367"/>
          </a:xfrm>
          <a:prstGeom prst="rect">
            <a:avLst/>
          </a:prstGeom>
          <a:noFill/>
          <a:ln>
            <a:noFill/>
          </a:ln>
        </p:spPr>
      </p:pic>
      <p:pic>
        <p:nvPicPr>
          <p:cNvPr id="172" name="Google Shape;172;p29"/>
          <p:cNvPicPr preferRelativeResize="0"/>
          <p:nvPr/>
        </p:nvPicPr>
        <p:blipFill rotWithShape="1">
          <a:blip r:embed="rId4">
            <a:alphaModFix/>
          </a:blip>
          <a:srcRect l="44178" t="56159" r="43912" b="25802"/>
          <a:stretch/>
        </p:blipFill>
        <p:spPr>
          <a:xfrm>
            <a:off x="10299065" y="2942217"/>
            <a:ext cx="1369435" cy="1163700"/>
          </a:xfrm>
          <a:prstGeom prst="rect">
            <a:avLst/>
          </a:prstGeom>
          <a:noFill/>
          <a:ln>
            <a:noFill/>
          </a:ln>
        </p:spPr>
      </p:pic>
      <p:pic>
        <p:nvPicPr>
          <p:cNvPr id="173" name="Google Shape;173;p29"/>
          <p:cNvPicPr preferRelativeResize="0"/>
          <p:nvPr/>
        </p:nvPicPr>
        <p:blipFill rotWithShape="1">
          <a:blip r:embed="rId4">
            <a:alphaModFix/>
          </a:blip>
          <a:srcRect l="78017" t="56378" r="10073" b="25584"/>
          <a:stretch/>
        </p:blipFill>
        <p:spPr>
          <a:xfrm>
            <a:off x="10299067" y="4673401"/>
            <a:ext cx="1369435" cy="11637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5">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5">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6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7kxfZ.v4NDyubXf.ZGVSA"/>
</p:tagLst>
</file>

<file path=ppt/theme/theme1.xml><?xml version="1.0" encoding="utf-8"?>
<a:theme xmlns:a="http://schemas.openxmlformats.org/drawingml/2006/main" name="Cover and End Slide Master">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 Master">
  <a:themeElements>
    <a:clrScheme name="ALLPPT-Artificial Intelligence">
      <a:dk1>
        <a:sysClr val="windowText" lastClr="000000"/>
      </a:dk1>
      <a:lt1>
        <a:sysClr val="window" lastClr="FFFFFF"/>
      </a:lt1>
      <a:dk2>
        <a:srgbClr val="44546A"/>
      </a:dk2>
      <a:lt2>
        <a:srgbClr val="E7E6E6"/>
      </a:lt2>
      <a:accent1>
        <a:srgbClr val="87ADDB"/>
      </a:accent1>
      <a:accent2>
        <a:srgbClr val="FEDC04"/>
      </a:accent2>
      <a:accent3>
        <a:srgbClr val="4C93DF"/>
      </a:accent3>
      <a:accent4>
        <a:srgbClr val="F77660"/>
      </a:accent4>
      <a:accent5>
        <a:srgbClr val="555A5C"/>
      </a:accent5>
      <a:accent6>
        <a:srgbClr val="737474"/>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ection Break Slide Master">
  <a:themeElements>
    <a:clrScheme name="ALLPPT-Artificial Intelligence">
      <a:dk1>
        <a:sysClr val="windowText" lastClr="000000"/>
      </a:dk1>
      <a:lt1>
        <a:sysClr val="window" lastClr="FFFFFF"/>
      </a:lt1>
      <a:dk2>
        <a:srgbClr val="44546A"/>
      </a:dk2>
      <a:lt2>
        <a:srgbClr val="E7E6E6"/>
      </a:lt2>
      <a:accent1>
        <a:srgbClr val="87ADDB"/>
      </a:accent1>
      <a:accent2>
        <a:srgbClr val="FEDC04"/>
      </a:accent2>
      <a:accent3>
        <a:srgbClr val="F77660"/>
      </a:accent3>
      <a:accent4>
        <a:srgbClr val="4C93DF"/>
      </a:accent4>
      <a:accent5>
        <a:srgbClr val="555A5C"/>
      </a:accent5>
      <a:accent6>
        <a:srgbClr val="737474"/>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PIPELIFE FARBEN">
      <a:dk1>
        <a:srgbClr val="003087"/>
      </a:dk1>
      <a:lt1>
        <a:srgbClr val="FFFFFF"/>
      </a:lt1>
      <a:dk2>
        <a:srgbClr val="003087"/>
      </a:dk2>
      <a:lt2>
        <a:srgbClr val="FFFFFF"/>
      </a:lt2>
      <a:accent1>
        <a:srgbClr val="002F86"/>
      </a:accent1>
      <a:accent2>
        <a:srgbClr val="99ABCF"/>
      </a:accent2>
      <a:accent3>
        <a:srgbClr val="CCD6E7"/>
      </a:accent3>
      <a:accent4>
        <a:srgbClr val="41B6E6"/>
      </a:accent4>
      <a:accent5>
        <a:srgbClr val="B2E1F4"/>
      </a:accent5>
      <a:accent6>
        <a:srgbClr val="D9F0FA"/>
      </a:accent6>
      <a:hlink>
        <a:srgbClr val="41B6E5"/>
      </a:hlink>
      <a:folHlink>
        <a:srgbClr val="B2E1F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Design">
  <a:themeElements>
    <a:clrScheme name="wienerberger ppt colours01">
      <a:dk1>
        <a:srgbClr val="000000"/>
      </a:dk1>
      <a:lt1>
        <a:srgbClr val="FFFFFF"/>
      </a:lt1>
      <a:dk2>
        <a:srgbClr val="DB1923"/>
      </a:dk2>
      <a:lt2>
        <a:srgbClr val="ECEDED"/>
      </a:lt2>
      <a:accent1>
        <a:srgbClr val="C2C1CA"/>
      </a:accent1>
      <a:accent2>
        <a:srgbClr val="8A8896"/>
      </a:accent2>
      <a:accent3>
        <a:srgbClr val="585461"/>
      </a:accent3>
      <a:accent4>
        <a:srgbClr val="F7CAA6"/>
      </a:accent4>
      <a:accent5>
        <a:srgbClr val="DD9D8B"/>
      </a:accent5>
      <a:accent6>
        <a:srgbClr val="DB1923"/>
      </a:accent6>
      <a:hlink>
        <a:srgbClr val="DB1923"/>
      </a:hlink>
      <a:folHlink>
        <a:srgbClr val="C2C1CA"/>
      </a:folHlink>
    </a:clrScheme>
    <a:fontScheme name="WB">
      <a:majorFont>
        <a:latin typeface="Open Sans"/>
        <a:ea typeface=""/>
        <a:cs typeface=""/>
      </a:majorFont>
      <a:minorFont>
        <a:latin typeface="Open Sans"/>
        <a:ea typeface=""/>
        <a:cs typeface=""/>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ienerbergerPPT-umbau16-9_master02" id="{4BD4A86C-9DB7-3740-BB39-5CCAD99988C1}" vid="{B44B06BF-CC0E-B34C-97EC-244800E80DA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27</TotalTime>
  <Words>1351</Words>
  <Application>Microsoft Office PowerPoint</Application>
  <PresentationFormat>Breedbeeld</PresentationFormat>
  <Paragraphs>259</Paragraphs>
  <Slides>28</Slides>
  <Notes>17</Notes>
  <HiddenSlides>1</HiddenSlides>
  <MMClips>0</MMClips>
  <ScaleCrop>false</ScaleCrop>
  <HeadingPairs>
    <vt:vector size="8" baseType="variant">
      <vt:variant>
        <vt:lpstr>Gebruikte lettertypen</vt:lpstr>
      </vt:variant>
      <vt:variant>
        <vt:i4>7</vt:i4>
      </vt:variant>
      <vt:variant>
        <vt:lpstr>Thema</vt:lpstr>
      </vt:variant>
      <vt:variant>
        <vt:i4>5</vt:i4>
      </vt:variant>
      <vt:variant>
        <vt:lpstr>Ingesloten OLE-bronprogramma's</vt:lpstr>
      </vt:variant>
      <vt:variant>
        <vt:i4>1</vt:i4>
      </vt:variant>
      <vt:variant>
        <vt:lpstr>Diatitels</vt:lpstr>
      </vt:variant>
      <vt:variant>
        <vt:i4>28</vt:i4>
      </vt:variant>
    </vt:vector>
  </HeadingPairs>
  <TitlesOfParts>
    <vt:vector size="41" baseType="lpstr">
      <vt:lpstr>Arial</vt:lpstr>
      <vt:lpstr>Arial Black</vt:lpstr>
      <vt:lpstr>Arial Narrow</vt:lpstr>
      <vt:lpstr>Calibri</vt:lpstr>
      <vt:lpstr>Calibri Light</vt:lpstr>
      <vt:lpstr>Open Sans</vt:lpstr>
      <vt:lpstr>Poppins</vt:lpstr>
      <vt:lpstr>Cover and End Slide Master</vt:lpstr>
      <vt:lpstr>Contents Slide Master</vt:lpstr>
      <vt:lpstr>Section Break Slide Master</vt:lpstr>
      <vt:lpstr>Office</vt:lpstr>
      <vt:lpstr>Office-Design</vt:lpstr>
      <vt:lpstr>think-cell Slide</vt:lpstr>
      <vt:lpstr>PowerPoint-presentatie</vt:lpstr>
      <vt:lpstr>Inhoud</vt:lpstr>
      <vt:lpstr>PowerPoint-presentatie</vt:lpstr>
      <vt:lpstr>PowerPoint-presentatie</vt:lpstr>
      <vt:lpstr>PowerPoint-presentatie</vt:lpstr>
      <vt:lpstr>PowerPoint-presentatie</vt:lpstr>
      <vt:lpstr>PowerPoint-presentatie</vt:lpstr>
      <vt:lpstr>Onderzoek</vt:lpstr>
      <vt:lpstr>Mega Trends.</vt:lpstr>
      <vt:lpstr>Uitdagingen watersector.</vt:lpstr>
      <vt:lpstr>Uitdagingen producenten.</vt:lpstr>
      <vt:lpstr>PowerPoint-presentatie</vt:lpstr>
      <vt:lpstr>Van Waardeketen, naar  Eco-systeem</vt:lpstr>
      <vt:lpstr>PowerPoint-presentatie</vt:lpstr>
      <vt:lpstr>PowerPoint-presentatie</vt:lpstr>
      <vt:lpstr>PowerPoint-presentatie</vt:lpstr>
      <vt:lpstr>PowerPoint-presentatie</vt:lpstr>
      <vt:lpstr>Voorbeelden</vt:lpstr>
      <vt:lpstr>Thema:  Klimaatadaptieve landbouw  </vt:lpstr>
      <vt:lpstr>PowerPoint-presentatie</vt:lpstr>
      <vt:lpstr>PowerPoint-presentatie</vt:lpstr>
      <vt:lpstr>Thema:  Toekomstbestendige Drinkwatervoorzieningen</vt:lpstr>
      <vt:lpstr>PowerPoint-presentatie</vt:lpstr>
      <vt:lpstr> Smart Probing Oplossing</vt:lpstr>
      <vt:lpstr>Belangrijkste Voorwaarde Eco-Systeem </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ppt.com;Googleslidesppt.com</dc:creator>
  <cp:lastModifiedBy>Jorien Loots</cp:lastModifiedBy>
  <cp:revision>348</cp:revision>
  <dcterms:created xsi:type="dcterms:W3CDTF">2018-04-24T17:14:44Z</dcterms:created>
  <dcterms:modified xsi:type="dcterms:W3CDTF">2022-03-15T11:21:57Z</dcterms:modified>
</cp:coreProperties>
</file>